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Override1.xml" ContentType="application/vnd.openxmlformats-officedocument.themeOverr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microsoft.com/office/2006/relationships/ui/userCustomization" Target="userCustomization/customUI.xml"/><Relationship Id="rId1" Type="http://schemas.openxmlformats.org/officeDocument/2006/relationships/officeDocument" Target="ppt/presentation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5"/>
  </p:sldMasterIdLst>
  <p:notesMasterIdLst>
    <p:notesMasterId r:id="rId9"/>
  </p:notesMasterIdLst>
  <p:handoutMasterIdLst>
    <p:handoutMasterId r:id="rId10"/>
  </p:handoutMasterIdLst>
  <p:sldIdLst>
    <p:sldId id="288" r:id="rId6"/>
    <p:sldId id="294" r:id="rId7"/>
    <p:sldId id="291" r:id="rId8"/>
  </p:sldIdLst>
  <p:sldSz cx="12192000" cy="6858000"/>
  <p:notesSz cx="6858000" cy="9144000"/>
  <p:custDataLst>
    <p:tags r:id="rId11"/>
  </p:custDataLst>
  <p:defaultTextStyle>
    <a:defPPr>
      <a:defRPr lang="en-US"/>
    </a:defPPr>
    <a:lvl1pPr marL="0" indent="0" algn="l" defTabSz="374400" rtl="0" eaLnBrk="1" latinLnBrk="0" hangingPunct="1">
      <a:lnSpc>
        <a:spcPct val="100000"/>
      </a:lnSpc>
      <a:spcBef>
        <a:spcPts val="0"/>
      </a:spcBef>
      <a:spcAft>
        <a:spcPts val="600"/>
      </a:spcAft>
      <a:buFontTx/>
      <a:buNone/>
      <a:defRPr sz="1600" kern="1200" baseline="0">
        <a:solidFill>
          <a:schemeClr val="tx1"/>
        </a:solidFill>
        <a:latin typeface="+mn-lt"/>
        <a:ea typeface="+mn-ea"/>
        <a:cs typeface="+mn-cs"/>
      </a:defRPr>
    </a:lvl1pPr>
    <a:lvl2pPr marL="285750" indent="-285750" algn="l" defTabSz="374400" rtl="0" eaLnBrk="1" latinLnBrk="0" hangingPunct="1">
      <a:lnSpc>
        <a:spcPct val="100000"/>
      </a:lnSpc>
      <a:spcBef>
        <a:spcPts val="0"/>
      </a:spcBef>
      <a:spcAft>
        <a:spcPts val="600"/>
      </a:spcAft>
      <a:buFont typeface="Arial" panose="020B0604020202020204" pitchFamily="34" charset="0"/>
      <a:buChar char="•"/>
      <a:defRPr sz="1400" b="0" kern="1200" baseline="0">
        <a:solidFill>
          <a:schemeClr val="tx1"/>
        </a:solidFill>
        <a:latin typeface="+mn-lt"/>
        <a:ea typeface="+mn-ea"/>
        <a:cs typeface="+mn-cs"/>
      </a:defRPr>
    </a:lvl2pPr>
    <a:lvl3pPr marL="568800" indent="-284400" algn="l" defTabSz="374400" rtl="0" eaLnBrk="1" latinLnBrk="0" hangingPunct="1">
      <a:lnSpc>
        <a:spcPct val="100000"/>
      </a:lnSpc>
      <a:spcBef>
        <a:spcPts val="0"/>
      </a:spcBef>
      <a:spcAft>
        <a:spcPts val="600"/>
      </a:spcAft>
      <a:buSzPct val="110000"/>
      <a:buFont typeface="Arial" panose="020B0604020202020204" pitchFamily="34" charset="0"/>
      <a:buChar char="•"/>
      <a:defRPr sz="1200" kern="1200" baseline="0">
        <a:solidFill>
          <a:schemeClr val="tx1"/>
        </a:solidFill>
        <a:latin typeface="+mn-lt"/>
        <a:ea typeface="+mn-ea"/>
        <a:cs typeface="+mn-cs"/>
      </a:defRPr>
    </a:lvl3pPr>
    <a:lvl4pPr marL="853200" indent="-284400" algn="l" defTabSz="374400" rtl="0" eaLnBrk="1" latinLnBrk="0" hangingPunct="1">
      <a:lnSpc>
        <a:spcPct val="100000"/>
      </a:lnSpc>
      <a:spcBef>
        <a:spcPts val="0"/>
      </a:spcBef>
      <a:spcAft>
        <a:spcPts val="300"/>
      </a:spcAft>
      <a:buSzPct val="100000"/>
      <a:buFont typeface="Arial" panose="020B0604020202020204" pitchFamily="34" charset="0"/>
      <a:buChar char="•"/>
      <a:defRPr sz="1100" kern="1200" baseline="0">
        <a:solidFill>
          <a:schemeClr val="tx1"/>
        </a:solidFill>
        <a:latin typeface="+mn-lt"/>
        <a:ea typeface="+mn-ea"/>
        <a:cs typeface="+mn-cs"/>
      </a:defRPr>
    </a:lvl4pPr>
    <a:lvl5pPr marL="1137600" indent="-284400" algn="l" defTabSz="374400" rtl="0" eaLnBrk="1" latinLnBrk="0" hangingPunct="1">
      <a:lnSpc>
        <a:spcPct val="100000"/>
      </a:lnSpc>
      <a:spcBef>
        <a:spcPts val="0"/>
      </a:spcBef>
      <a:spcAft>
        <a:spcPts val="100"/>
      </a:spcAft>
      <a:buSzPct val="90000"/>
      <a:buFont typeface="Arial" panose="020B0604020202020204" pitchFamily="34" charset="0"/>
      <a:buChar char="•"/>
      <a:defRPr sz="1000" kern="1200" baseline="0">
        <a:solidFill>
          <a:schemeClr val="tx1"/>
        </a:solidFill>
        <a:latin typeface="+mn-lt"/>
        <a:ea typeface="+mn-ea"/>
        <a:cs typeface="+mn-cs"/>
      </a:defRPr>
    </a:lvl5pPr>
    <a:lvl6pPr marL="1422000" indent="-284400" algn="l" defTabSz="374400" rtl="0" eaLnBrk="1" latinLnBrk="0" hangingPunct="1">
      <a:lnSpc>
        <a:spcPct val="100000"/>
      </a:lnSpc>
      <a:spcBef>
        <a:spcPts val="0"/>
      </a:spcBef>
      <a:spcAft>
        <a:spcPts val="100"/>
      </a:spcAft>
      <a:buFont typeface="Arial" panose="020B0604020202020204" pitchFamily="34" charset="0"/>
      <a:buChar char="•"/>
      <a:defRPr sz="900" kern="1200" baseline="0">
        <a:solidFill>
          <a:schemeClr val="tx1"/>
        </a:solidFill>
        <a:latin typeface="+mn-lt"/>
        <a:ea typeface="+mn-ea"/>
        <a:cs typeface="+mn-cs"/>
      </a:defRPr>
    </a:lvl6pPr>
    <a:lvl7pPr marL="1706400" indent="-284400" algn="l" defTabSz="374400" rtl="0" eaLnBrk="1" latinLnBrk="0" hangingPunct="1">
      <a:lnSpc>
        <a:spcPct val="100000"/>
      </a:lnSpc>
      <a:spcBef>
        <a:spcPts val="0"/>
      </a:spcBef>
      <a:spcAft>
        <a:spcPts val="100"/>
      </a:spcAft>
      <a:buFont typeface="Arial" panose="020B0604020202020204" pitchFamily="34" charset="0"/>
      <a:buChar char="•"/>
      <a:defRPr sz="800" kern="1200" baseline="0">
        <a:solidFill>
          <a:schemeClr val="tx1"/>
        </a:solidFill>
        <a:latin typeface="+mn-lt"/>
        <a:ea typeface="+mn-ea"/>
        <a:cs typeface="+mn-cs"/>
      </a:defRPr>
    </a:lvl7pPr>
    <a:lvl8pPr marL="1990800" indent="-284400" algn="l" defTabSz="374400" rtl="0" eaLnBrk="1" latinLnBrk="0" hangingPunct="1">
      <a:lnSpc>
        <a:spcPct val="100000"/>
      </a:lnSpc>
      <a:spcBef>
        <a:spcPts val="0"/>
      </a:spcBef>
      <a:spcAft>
        <a:spcPts val="100"/>
      </a:spcAft>
      <a:buFont typeface="Arial" panose="020B0604020202020204" pitchFamily="34" charset="0"/>
      <a:buChar char="•"/>
      <a:defRPr sz="700" kern="1200" baseline="0">
        <a:solidFill>
          <a:schemeClr val="tx1"/>
        </a:solidFill>
        <a:latin typeface="+mn-lt"/>
        <a:ea typeface="+mn-ea"/>
        <a:cs typeface="+mn-cs"/>
      </a:defRPr>
    </a:lvl8pPr>
    <a:lvl9pPr marL="0" indent="0" algn="l" defTabSz="374400" rtl="0" eaLnBrk="1" latinLnBrk="0" hangingPunct="1">
      <a:lnSpc>
        <a:spcPct val="100000"/>
      </a:lnSpc>
      <a:spcBef>
        <a:spcPts val="0"/>
      </a:spcBef>
      <a:spcAft>
        <a:spcPts val="600"/>
      </a:spcAft>
      <a:buFontTx/>
      <a:buNone/>
      <a:defRPr sz="1600" b="1" kern="1200" baseline="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im Alexander Türger" initials="TAT" lastIdx="1" clrIdx="0">
    <p:extLst>
      <p:ext uri="{19B8F6BF-5375-455C-9EA6-DF929625EA0E}">
        <p15:presenceInfo xmlns:p15="http://schemas.microsoft.com/office/powerpoint/2012/main" userId="Tim Alexander Türge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0E3FDE45-AF77-4B5C-9715-49D594BDF05E}">
  <a:tblStyle styleId="{0E3FDE45-AF77-4B5C-9715-49D594BDF05E}" styleName="Light Style 1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2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dk2"/>
          </a:solidFill>
        </a:fill>
      </a:tcStyle>
    </a:lastCol>
    <a:firstCol>
      <a:tcTxStyle/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</a:tcBdr>
        <a:fill>
          <a:solidFill>
            <a:schemeClr val="lt2"/>
          </a:solidFill>
        </a:fill>
      </a:tcStyle>
    </a:firstCol>
    <a:lastRow>
      <a:tcTxStyle b="on">
        <a:fontRef idx="minor"/>
        <a:schemeClr val="lt1"/>
      </a:tcTxStyle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/>
          </a:solidFill>
        </a:fill>
      </a:tcStyle>
    </a:lastRow>
    <a:seCell>
      <a:tcTxStyle b="on">
        <a:fontRef idx="minor"/>
        <a:schemeClr val="lt1"/>
      </a:tcTxStyle>
      <a:tcStyle>
        <a:tcBdr>
          <a:top>
            <a:lnRef idx="1">
              <a:srgbClr val="0089B7"/>
            </a:lnRef>
          </a:top>
          <a:bottom>
            <a:lnRef idx="1">
              <a:srgbClr val="0089B7"/>
            </a:lnRef>
          </a:bottom>
        </a:tcBdr>
        <a:fill>
          <a:solidFill>
            <a:srgbClr val="0089B7"/>
          </a:solidFill>
        </a:fill>
      </a:tcStyle>
    </a:seCell>
    <a:firstRow>
      <a:tcTxStyle b="on">
        <a:fontRef idx="minor"/>
        <a:schemeClr val="dk2"/>
      </a:tcTxStyle>
      <a:tcStyle>
        <a:tcBdr>
          <a:top>
            <a:lnRef idx="2">
              <a:schemeClr val="dk2"/>
            </a:lnRef>
          </a:top>
          <a:bottom>
            <a:lnRef idx="1">
              <a:schemeClr val="accent2"/>
            </a:lnRef>
          </a:bottom>
        </a:tcBdr>
        <a:fill>
          <a:solidFill>
            <a:schemeClr val="lt1"/>
          </a:solidFill>
        </a:fill>
      </a:tcStyle>
    </a:firstRow>
    <a:neCell>
      <a:tcTxStyle b="on">
        <a:fontRef idx="minor"/>
        <a:schemeClr val="lt1"/>
      </a:tcTxStyle>
      <a:tcStyle>
        <a:tcBdr>
          <a:top>
            <a:lnRef idx="2">
              <a:schemeClr val="dk2"/>
            </a:lnRef>
          </a:top>
          <a:bottom>
            <a:lnRef idx="1">
              <a:schemeClr val="accent2"/>
            </a:lnRef>
          </a:bottom>
        </a:tcBdr>
        <a:fill>
          <a:solidFill>
            <a:schemeClr val="dk2"/>
          </a:solidFill>
        </a:fill>
      </a:tcStyle>
    </a:neCell>
    <a:nwCell>
      <a:tcTxStyle b="on">
        <a:fontRef idx="minor"/>
        <a:schemeClr val="dk2"/>
      </a:tcTxStyle>
      <a:tcStyle>
        <a:tcBdr>
          <a:top>
            <a:lnRef idx="2">
              <a:schemeClr val="dk2"/>
            </a:lnRef>
          </a:top>
          <a:bottom>
            <a:lnRef idx="1">
              <a:schemeClr val="accent2"/>
            </a:lnRef>
          </a:bottom>
        </a:tcBdr>
        <a:fill>
          <a:solidFill>
            <a:schemeClr val="lt2"/>
          </a:solidFill>
        </a:fill>
      </a:tcStyle>
    </a:nwCell>
  </a:tblStyle>
  <a:tblStyle styleId="{5C22544A-7EE6-4342-B048-85BDC9FD1C3A}" styleName="Medium Style 2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2">
              <a:schemeClr val="lt1"/>
            </a:lnRef>
          </a:top>
          <a:bottom>
            <a:lnRef idx="1">
              <a:schemeClr val="lt1"/>
            </a:lnRef>
          </a:bottom>
          <a:insideH>
            <a:lnRef idx="1">
              <a:schemeClr val="lt1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chemeClr val="lt1"/>
            </a:lnRef>
          </a:top>
          <a:bottom>
            <a:lnRef idx="1">
              <a:schemeClr val="lt1"/>
            </a:lnRef>
          </a:bottom>
          <a:insideH>
            <a:lnRef idx="1">
              <a:schemeClr val="lt1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  <a:fill>
          <a:solidFill>
            <a:srgbClr val="AEB0B3"/>
          </a:solidFill>
        </a:fill>
      </a:tcStyle>
    </a:band1H>
    <a:band2H>
      <a:tcTxStyle/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chemeClr val="lt1"/>
            </a:lnRef>
          </a:top>
          <a:bottom>
            <a:lnRef idx="1">
              <a:schemeClr val="lt1"/>
            </a:lnRef>
          </a:bottom>
          <a:insideH>
            <a:lnRef idx="1">
              <a:schemeClr val="lt1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  <a:fill>
          <a:solidFill>
            <a:schemeClr val="lt2"/>
          </a:solidFill>
        </a:fill>
      </a:tcStyle>
    </a:band2H>
    <a:band1V>
      <a:tcTxStyle/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chemeClr val="lt1"/>
            </a:lnRef>
          </a:top>
          <a:bottom>
            <a:lnRef idx="1">
              <a:schemeClr val="lt1"/>
            </a:lnRef>
          </a:bottom>
          <a:insideH>
            <a:lnRef idx="1">
              <a:schemeClr val="lt1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  <a:fill>
          <a:solidFill>
            <a:srgbClr val="AEB0B3"/>
          </a:solidFill>
        </a:fill>
      </a:tcStyle>
    </a:band1V>
    <a:band2V>
      <a:tcTxStyle/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chemeClr val="lt1"/>
            </a:lnRef>
          </a:top>
          <a:bottom>
            <a:lnRef idx="1">
              <a:schemeClr val="lt1"/>
            </a:lnRef>
          </a:bottom>
          <a:insideH>
            <a:lnRef idx="1">
              <a:schemeClr val="lt1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  <a:fill>
          <a:solidFill>
            <a:schemeClr val="lt2"/>
          </a:solidFill>
        </a:fill>
      </a:tcStyle>
    </a:band2V>
    <a:lastCol>
      <a:tcTxStyle b="on">
        <a:fontRef idx="minor">
          <a:prstClr val="black"/>
        </a:fontRef>
        <a:schemeClr val="lt1"/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chemeClr val="lt1"/>
            </a:lnRef>
          </a:top>
          <a:bottom>
            <a:lnRef idx="1">
              <a:schemeClr val="lt1"/>
            </a:lnRef>
          </a:bottom>
          <a:insideH>
            <a:lnRef idx="1">
              <a:schemeClr val="lt1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dk1"/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chemeClr val="lt1"/>
            </a:lnRef>
          </a:top>
          <a:bottom>
            <a:lnRef idx="1">
              <a:schemeClr val="lt1"/>
            </a:lnRef>
          </a:bottom>
          <a:insideH>
            <a:lnRef idx="1">
              <a:schemeClr val="lt1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  <a:fill>
          <a:solidFill>
            <a:schemeClr val="l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chemeClr val="lt1"/>
            </a:lnRef>
          </a:top>
          <a:bottom>
            <a:lnRef idx="1">
              <a:schemeClr val="lt1"/>
            </a:lnRef>
          </a:bottom>
          <a:insideH>
            <a:lnRef idx="1">
              <a:schemeClr val="lt1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2">
              <a:schemeClr val="lt1"/>
            </a:lnRef>
          </a:top>
          <a:bottom>
            <a:lnRef idx="1">
              <a:schemeClr val="lt1"/>
            </a:lnRef>
          </a:bottom>
          <a:insideH>
            <a:lnRef idx="1">
              <a:schemeClr val="lt1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3600"/>
  </p:normalViewPr>
  <p:slideViewPr>
    <p:cSldViewPr showGuides="1">
      <p:cViewPr varScale="1">
        <p:scale>
          <a:sx n="61" d="100"/>
          <a:sy n="61" d="100"/>
        </p:scale>
        <p:origin x="884" y="76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80" d="100"/>
          <a:sy n="80" d="100"/>
        </p:scale>
        <p:origin x="3948" y="10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tags" Target="tags/tag1.xml"/><Relationship Id="rId5" Type="http://schemas.openxmlformats.org/officeDocument/2006/relationships/slideMaster" Target="slideMasters/slideMaster1.xml"/><Relationship Id="rId15" Type="http://schemas.openxmlformats.org/officeDocument/2006/relationships/theme" Target="theme/theme1.xml"/><Relationship Id="rId10" Type="http://schemas.openxmlformats.org/officeDocument/2006/relationships/handoutMaster" Target="handoutMasters/handoutMaster1.xml"/><Relationship Id="rId4" Type="http://schemas.openxmlformats.org/officeDocument/2006/relationships/customXml" Target="../customXml/item4.xml"/><Relationship Id="rId9" Type="http://schemas.openxmlformats.org/officeDocument/2006/relationships/notesMaster" Target="notesMasters/notesMaster1.xml"/><Relationship Id="rId14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29D2421-AB76-43CF-AC87-27381149982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480600" y="219600"/>
            <a:ext cx="4161046" cy="494775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1200"/>
            </a:lvl1pPr>
          </a:lstStyle>
          <a:p>
            <a:pPr>
              <a:lnSpc>
                <a:spcPct val="100000"/>
              </a:lnSpc>
            </a:pPr>
            <a:r>
              <a:rPr lang="en-US" sz="1600" b="1" dirty="0">
                <a:solidFill>
                  <a:schemeClr val="tx2"/>
                </a:solidFill>
              </a:rPr>
              <a:t>Use native PPT "Header and Footer" to set header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1E805F7-C6DC-49D0-9E5F-8126FB84247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411800" y="8784000"/>
            <a:ext cx="1474200" cy="23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/>
            </a:lvl1pPr>
          </a:lstStyle>
          <a:p>
            <a:fld id="{6C32FB06-AC8D-42CB-BC9C-84B9A863515E}" type="datetime4">
              <a:rPr lang="en-US" sz="1000">
                <a:solidFill>
                  <a:schemeClr val="tx2"/>
                </a:solidFill>
              </a:rPr>
              <a:t>October 24, 2023</a:t>
            </a:fld>
            <a:endParaRPr lang="en-US" sz="1000" dirty="0">
              <a:solidFill>
                <a:schemeClr val="tx2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4C73045-617B-4A11-BFAF-AA37B3D6548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479424" y="8784000"/>
            <a:ext cx="3885576" cy="23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200"/>
            </a:lvl1pPr>
          </a:lstStyle>
          <a:p>
            <a:r>
              <a:rPr lang="en-US" sz="1000" dirty="0">
                <a:solidFill>
                  <a:schemeClr val="tx2"/>
                </a:solidFill>
              </a:rPr>
              <a:t>Use native PPT "Header and Footer" to set foot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27C48BB-715D-460B-AE69-64ECBA4560E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956200" y="8784000"/>
            <a:ext cx="514450" cy="23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/>
            </a:lvl1pPr>
          </a:lstStyle>
          <a:p>
            <a:fld id="{0C0E4CA2-648C-49DE-8FF3-D303AA8895AF}" type="slidenum">
              <a:rPr lang="en-US" sz="1000">
                <a:solidFill>
                  <a:schemeClr val="tx2"/>
                </a:solidFill>
              </a:rPr>
              <a:t>‹#›</a:t>
            </a:fld>
            <a:endParaRPr lang="en-US" sz="1000" dirty="0">
              <a:solidFill>
                <a:schemeClr val="tx2"/>
              </a:solidFill>
            </a:endParaRPr>
          </a:p>
        </p:txBody>
      </p:sp>
      <p:sp>
        <p:nvSpPr>
          <p:cNvPr id="6" name="Logo">
            <a:extLst>
              <a:ext uri="{FF2B5EF4-FFF2-40B4-BE49-F238E27FC236}">
                <a16:creationId xmlns:a16="http://schemas.microsoft.com/office/drawing/2014/main" id="{DF1EABAE-662D-4DE0-A7DF-B858E601D1A0}"/>
              </a:ext>
            </a:extLst>
          </p:cNvPr>
          <p:cNvSpPr/>
          <p:nvPr/>
        </p:nvSpPr>
        <p:spPr bwMode="black">
          <a:xfrm>
            <a:off x="5143038" y="266400"/>
            <a:ext cx="1336044" cy="374400"/>
          </a:xfrm>
          <a:custGeom>
            <a:avLst/>
            <a:gdLst>
              <a:gd name="connsiteX0" fmla="*/ 135721 w 1078169"/>
              <a:gd name="connsiteY0" fmla="*/ 71284 h 302134"/>
              <a:gd name="connsiteX1" fmla="*/ 109085 w 1078169"/>
              <a:gd name="connsiteY1" fmla="*/ 189249 h 302134"/>
              <a:gd name="connsiteX2" fmla="*/ 161091 w 1078169"/>
              <a:gd name="connsiteY2" fmla="*/ 189249 h 302134"/>
              <a:gd name="connsiteX3" fmla="*/ 394483 w 1078169"/>
              <a:gd name="connsiteY3" fmla="*/ 66210 h 302134"/>
              <a:gd name="connsiteX4" fmla="*/ 374189 w 1078169"/>
              <a:gd name="connsiteY4" fmla="*/ 89042 h 302134"/>
              <a:gd name="connsiteX5" fmla="*/ 418583 w 1078169"/>
              <a:gd name="connsiteY5" fmla="*/ 123290 h 302134"/>
              <a:gd name="connsiteX6" fmla="*/ 499763 w 1078169"/>
              <a:gd name="connsiteY6" fmla="*/ 210811 h 302134"/>
              <a:gd name="connsiteX7" fmla="*/ 422389 w 1078169"/>
              <a:gd name="connsiteY7" fmla="*/ 295797 h 302134"/>
              <a:gd name="connsiteX8" fmla="*/ 287933 w 1078169"/>
              <a:gd name="connsiteY8" fmla="*/ 281844 h 302134"/>
              <a:gd name="connsiteX9" fmla="*/ 287933 w 1078169"/>
              <a:gd name="connsiteY9" fmla="*/ 213348 h 302134"/>
              <a:gd name="connsiteX10" fmla="*/ 367845 w 1078169"/>
              <a:gd name="connsiteY10" fmla="*/ 242522 h 302134"/>
              <a:gd name="connsiteX11" fmla="*/ 412241 w 1078169"/>
              <a:gd name="connsiteY11" fmla="*/ 209543 h 302134"/>
              <a:gd name="connsiteX12" fmla="*/ 381797 w 1078169"/>
              <a:gd name="connsiteY12" fmla="*/ 176564 h 302134"/>
              <a:gd name="connsiteX13" fmla="*/ 394483 w 1078169"/>
              <a:gd name="connsiteY13" fmla="*/ 66210 h 302134"/>
              <a:gd name="connsiteX14" fmla="*/ 894245 w 1078169"/>
              <a:gd name="connsiteY14" fmla="*/ 9131 h 302134"/>
              <a:gd name="connsiteX15" fmla="*/ 972889 w 1078169"/>
              <a:gd name="connsiteY15" fmla="*/ 9131 h 302134"/>
              <a:gd name="connsiteX16" fmla="*/ 972889 w 1078169"/>
              <a:gd name="connsiteY16" fmla="*/ 236181 h 302134"/>
              <a:gd name="connsiteX17" fmla="*/ 1078169 w 1078169"/>
              <a:gd name="connsiteY17" fmla="*/ 236181 h 302134"/>
              <a:gd name="connsiteX18" fmla="*/ 1078169 w 1078169"/>
              <a:gd name="connsiteY18" fmla="*/ 295797 h 302134"/>
              <a:gd name="connsiteX19" fmla="*/ 894245 w 1078169"/>
              <a:gd name="connsiteY19" fmla="*/ 295797 h 302134"/>
              <a:gd name="connsiteX20" fmla="*/ 564453 w 1078169"/>
              <a:gd name="connsiteY20" fmla="*/ 9131 h 302134"/>
              <a:gd name="connsiteX21" fmla="*/ 650707 w 1078169"/>
              <a:gd name="connsiteY21" fmla="*/ 9131 h 302134"/>
              <a:gd name="connsiteX22" fmla="*/ 690029 w 1078169"/>
              <a:gd name="connsiteY22" fmla="*/ 181638 h 302134"/>
              <a:gd name="connsiteX23" fmla="*/ 730617 w 1078169"/>
              <a:gd name="connsiteY23" fmla="*/ 9131 h 302134"/>
              <a:gd name="connsiteX24" fmla="*/ 816873 w 1078169"/>
              <a:gd name="connsiteY24" fmla="*/ 9131 h 302134"/>
              <a:gd name="connsiteX25" fmla="*/ 854925 w 1078169"/>
              <a:gd name="connsiteY25" fmla="*/ 295797 h 302134"/>
              <a:gd name="connsiteX26" fmla="*/ 773745 w 1078169"/>
              <a:gd name="connsiteY26" fmla="*/ 295797 h 302134"/>
              <a:gd name="connsiteX27" fmla="*/ 759793 w 1078169"/>
              <a:gd name="connsiteY27" fmla="*/ 114411 h 302134"/>
              <a:gd name="connsiteX28" fmla="*/ 721739 w 1078169"/>
              <a:gd name="connsiteY28" fmla="*/ 295797 h 302134"/>
              <a:gd name="connsiteX29" fmla="*/ 658317 w 1078169"/>
              <a:gd name="connsiteY29" fmla="*/ 295797 h 302134"/>
              <a:gd name="connsiteX30" fmla="*/ 621533 w 1078169"/>
              <a:gd name="connsiteY30" fmla="*/ 114411 h 302134"/>
              <a:gd name="connsiteX31" fmla="*/ 607581 w 1078169"/>
              <a:gd name="connsiteY31" fmla="*/ 295797 h 302134"/>
              <a:gd name="connsiteX32" fmla="*/ 526401 w 1078169"/>
              <a:gd name="connsiteY32" fmla="*/ 295797 h 302134"/>
              <a:gd name="connsiteX33" fmla="*/ 86253 w 1078169"/>
              <a:gd name="connsiteY33" fmla="*/ 9131 h 302134"/>
              <a:gd name="connsiteX34" fmla="*/ 183923 w 1078169"/>
              <a:gd name="connsiteY34" fmla="*/ 9131 h 302134"/>
              <a:gd name="connsiteX35" fmla="*/ 270177 w 1078169"/>
              <a:gd name="connsiteY35" fmla="*/ 295797 h 302134"/>
              <a:gd name="connsiteX36" fmla="*/ 183923 w 1078169"/>
              <a:gd name="connsiteY36" fmla="*/ 295797 h 302134"/>
              <a:gd name="connsiteX37" fmla="*/ 172507 w 1078169"/>
              <a:gd name="connsiteY37" fmla="*/ 243791 h 302134"/>
              <a:gd name="connsiteX38" fmla="*/ 97669 w 1078169"/>
              <a:gd name="connsiteY38" fmla="*/ 243791 h 302134"/>
              <a:gd name="connsiteX39" fmla="*/ 86253 w 1078169"/>
              <a:gd name="connsiteY39" fmla="*/ 295797 h 302134"/>
              <a:gd name="connsiteX40" fmla="*/ 0 w 1078169"/>
              <a:gd name="connsiteY40" fmla="*/ 295797 h 302134"/>
              <a:gd name="connsiteX41" fmla="*/ 416643 w 1078169"/>
              <a:gd name="connsiteY41" fmla="*/ 173 h 302134"/>
              <a:gd name="connsiteX42" fmla="*/ 478201 w 1078169"/>
              <a:gd name="connsiteY42" fmla="*/ 14205 h 302134"/>
              <a:gd name="connsiteX43" fmla="*/ 478201 w 1078169"/>
              <a:gd name="connsiteY43" fmla="*/ 89043 h 302134"/>
              <a:gd name="connsiteX44" fmla="*/ 294277 w 1078169"/>
              <a:gd name="connsiteY44" fmla="*/ 109337 h 302134"/>
              <a:gd name="connsiteX45" fmla="*/ 416643 w 1078169"/>
              <a:gd name="connsiteY45" fmla="*/ 173 h 302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1078169" h="302134">
                <a:moveTo>
                  <a:pt x="135721" y="71284"/>
                </a:moveTo>
                <a:lnTo>
                  <a:pt x="109085" y="189249"/>
                </a:lnTo>
                <a:lnTo>
                  <a:pt x="161091" y="189249"/>
                </a:lnTo>
                <a:close/>
                <a:moveTo>
                  <a:pt x="394483" y="66210"/>
                </a:moveTo>
                <a:cubicBezTo>
                  <a:pt x="377993" y="71284"/>
                  <a:pt x="374189" y="80163"/>
                  <a:pt x="374189" y="89042"/>
                </a:cubicBezTo>
                <a:cubicBezTo>
                  <a:pt x="374189" y="109337"/>
                  <a:pt x="400825" y="115679"/>
                  <a:pt x="418583" y="123290"/>
                </a:cubicBezTo>
                <a:cubicBezTo>
                  <a:pt x="447757" y="134705"/>
                  <a:pt x="501033" y="148658"/>
                  <a:pt x="499763" y="210811"/>
                </a:cubicBezTo>
                <a:cubicBezTo>
                  <a:pt x="499763" y="247596"/>
                  <a:pt x="464247" y="283112"/>
                  <a:pt x="422389" y="295797"/>
                </a:cubicBezTo>
                <a:cubicBezTo>
                  <a:pt x="371653" y="311018"/>
                  <a:pt x="319645" y="295797"/>
                  <a:pt x="287933" y="281844"/>
                </a:cubicBezTo>
                <a:lnTo>
                  <a:pt x="287933" y="213348"/>
                </a:lnTo>
                <a:cubicBezTo>
                  <a:pt x="314573" y="231106"/>
                  <a:pt x="338671" y="242522"/>
                  <a:pt x="367845" y="242522"/>
                </a:cubicBezTo>
                <a:cubicBezTo>
                  <a:pt x="385605" y="242522"/>
                  <a:pt x="412241" y="233643"/>
                  <a:pt x="412241" y="209543"/>
                </a:cubicBezTo>
                <a:cubicBezTo>
                  <a:pt x="412241" y="189248"/>
                  <a:pt x="393215" y="182906"/>
                  <a:pt x="381797" y="176564"/>
                </a:cubicBezTo>
                <a:cubicBezTo>
                  <a:pt x="318377" y="142316"/>
                  <a:pt x="337403" y="72552"/>
                  <a:pt x="394483" y="66210"/>
                </a:cubicBezTo>
                <a:close/>
                <a:moveTo>
                  <a:pt x="894245" y="9131"/>
                </a:moveTo>
                <a:lnTo>
                  <a:pt x="972889" y="9131"/>
                </a:lnTo>
                <a:lnTo>
                  <a:pt x="972889" y="236181"/>
                </a:lnTo>
                <a:lnTo>
                  <a:pt x="1078169" y="236181"/>
                </a:lnTo>
                <a:lnTo>
                  <a:pt x="1078169" y="295797"/>
                </a:lnTo>
                <a:lnTo>
                  <a:pt x="894245" y="295797"/>
                </a:lnTo>
                <a:close/>
                <a:moveTo>
                  <a:pt x="564453" y="9131"/>
                </a:moveTo>
                <a:lnTo>
                  <a:pt x="650707" y="9131"/>
                </a:lnTo>
                <a:lnTo>
                  <a:pt x="690029" y="181638"/>
                </a:lnTo>
                <a:lnTo>
                  <a:pt x="730617" y="9131"/>
                </a:lnTo>
                <a:lnTo>
                  <a:pt x="816873" y="9131"/>
                </a:lnTo>
                <a:lnTo>
                  <a:pt x="854925" y="295797"/>
                </a:lnTo>
                <a:lnTo>
                  <a:pt x="773745" y="295797"/>
                </a:lnTo>
                <a:lnTo>
                  <a:pt x="759793" y="114411"/>
                </a:lnTo>
                <a:lnTo>
                  <a:pt x="721739" y="295797"/>
                </a:lnTo>
                <a:lnTo>
                  <a:pt x="658317" y="295797"/>
                </a:lnTo>
                <a:lnTo>
                  <a:pt x="621533" y="114411"/>
                </a:lnTo>
                <a:lnTo>
                  <a:pt x="607581" y="295797"/>
                </a:lnTo>
                <a:lnTo>
                  <a:pt x="526401" y="295797"/>
                </a:lnTo>
                <a:close/>
                <a:moveTo>
                  <a:pt x="86253" y="9131"/>
                </a:moveTo>
                <a:lnTo>
                  <a:pt x="183923" y="9131"/>
                </a:lnTo>
                <a:lnTo>
                  <a:pt x="270177" y="295797"/>
                </a:lnTo>
                <a:lnTo>
                  <a:pt x="183923" y="295797"/>
                </a:lnTo>
                <a:lnTo>
                  <a:pt x="172507" y="243791"/>
                </a:lnTo>
                <a:lnTo>
                  <a:pt x="97669" y="243791"/>
                </a:lnTo>
                <a:lnTo>
                  <a:pt x="86253" y="295797"/>
                </a:lnTo>
                <a:lnTo>
                  <a:pt x="0" y="295797"/>
                </a:lnTo>
                <a:close/>
                <a:moveTo>
                  <a:pt x="416643" y="173"/>
                </a:moveTo>
                <a:cubicBezTo>
                  <a:pt x="438563" y="1124"/>
                  <a:pt x="460127" y="5960"/>
                  <a:pt x="478201" y="14205"/>
                </a:cubicBezTo>
                <a:cubicBezTo>
                  <a:pt x="479469" y="31963"/>
                  <a:pt x="480737" y="49721"/>
                  <a:pt x="478201" y="89043"/>
                </a:cubicBezTo>
                <a:cubicBezTo>
                  <a:pt x="407169" y="26889"/>
                  <a:pt x="295545" y="52258"/>
                  <a:pt x="294277" y="109337"/>
                </a:cubicBezTo>
                <a:cubicBezTo>
                  <a:pt x="281911" y="29426"/>
                  <a:pt x="350883" y="-2681"/>
                  <a:pt x="416643" y="173"/>
                </a:cubicBezTo>
                <a:close/>
              </a:path>
            </a:pathLst>
          </a:custGeom>
          <a:solidFill>
            <a:srgbClr val="10069F"/>
          </a:solidFill>
          <a:ln w="1268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endParaRPr lang="en-US" sz="2400" baseline="0" dirty="0">
              <a:latin typeface="+mn-lt"/>
              <a:cs typeface="+mn-cs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A0B4081-D4BA-4211-87D8-80B8B3557A4D}"/>
              </a:ext>
            </a:extLst>
          </p:cNvPr>
          <p:cNvCxnSpPr/>
          <p:nvPr/>
        </p:nvCxnSpPr>
        <p:spPr>
          <a:xfrm>
            <a:off x="3708400" y="12024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2E7DC72-6FC6-4647-ACF2-463663CF2E4E}"/>
              </a:ext>
            </a:extLst>
          </p:cNvPr>
          <p:cNvCxnSpPr/>
          <p:nvPr/>
        </p:nvCxnSpPr>
        <p:spPr>
          <a:xfrm>
            <a:off x="3709800" y="15768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C044078-D5C4-4E7B-969B-FB66F75C3DE1}"/>
              </a:ext>
            </a:extLst>
          </p:cNvPr>
          <p:cNvCxnSpPr/>
          <p:nvPr/>
        </p:nvCxnSpPr>
        <p:spPr>
          <a:xfrm>
            <a:off x="3711200" y="19512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5DC23E9-A2BA-4714-A207-D8690B38D557}"/>
              </a:ext>
            </a:extLst>
          </p:cNvPr>
          <p:cNvCxnSpPr/>
          <p:nvPr/>
        </p:nvCxnSpPr>
        <p:spPr>
          <a:xfrm>
            <a:off x="3712600" y="23256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8AF2E7B-0AF5-4F2F-9205-5E02AC1DAD99}"/>
              </a:ext>
            </a:extLst>
          </p:cNvPr>
          <p:cNvCxnSpPr/>
          <p:nvPr/>
        </p:nvCxnSpPr>
        <p:spPr>
          <a:xfrm>
            <a:off x="3714000" y="27000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2EC744A-4121-4C71-91A5-5E700EC64304}"/>
              </a:ext>
            </a:extLst>
          </p:cNvPr>
          <p:cNvCxnSpPr/>
          <p:nvPr/>
        </p:nvCxnSpPr>
        <p:spPr>
          <a:xfrm>
            <a:off x="3709800" y="38232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64944704-4FD1-4401-A330-AADD3A0C08F2}"/>
              </a:ext>
            </a:extLst>
          </p:cNvPr>
          <p:cNvCxnSpPr/>
          <p:nvPr/>
        </p:nvCxnSpPr>
        <p:spPr>
          <a:xfrm>
            <a:off x="3711200" y="41976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9012487B-2DE2-43EA-8D41-96F4DEB08174}"/>
              </a:ext>
            </a:extLst>
          </p:cNvPr>
          <p:cNvCxnSpPr/>
          <p:nvPr/>
        </p:nvCxnSpPr>
        <p:spPr>
          <a:xfrm>
            <a:off x="3712600" y="45720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606F7128-78F2-45F8-9E03-48A2660DB51B}"/>
              </a:ext>
            </a:extLst>
          </p:cNvPr>
          <p:cNvCxnSpPr/>
          <p:nvPr/>
        </p:nvCxnSpPr>
        <p:spPr>
          <a:xfrm>
            <a:off x="3714000" y="49464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3E40C1F6-B2AE-409F-AD66-C53E4523F66F}"/>
              </a:ext>
            </a:extLst>
          </p:cNvPr>
          <p:cNvCxnSpPr/>
          <p:nvPr/>
        </p:nvCxnSpPr>
        <p:spPr>
          <a:xfrm>
            <a:off x="3715400" y="53208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F42B8729-F7A1-4248-BF81-C8AB3EE3A033}"/>
              </a:ext>
            </a:extLst>
          </p:cNvPr>
          <p:cNvCxnSpPr/>
          <p:nvPr/>
        </p:nvCxnSpPr>
        <p:spPr>
          <a:xfrm>
            <a:off x="3711200" y="64908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933C7F4F-7F8C-4F62-9A09-25026FF2A3E2}"/>
              </a:ext>
            </a:extLst>
          </p:cNvPr>
          <p:cNvCxnSpPr/>
          <p:nvPr/>
        </p:nvCxnSpPr>
        <p:spPr>
          <a:xfrm>
            <a:off x="3712600" y="68652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A62C309B-3ECE-4651-8116-DC625F384BDB}"/>
              </a:ext>
            </a:extLst>
          </p:cNvPr>
          <p:cNvCxnSpPr/>
          <p:nvPr/>
        </p:nvCxnSpPr>
        <p:spPr>
          <a:xfrm>
            <a:off x="3714000" y="72396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F43AB9DE-F441-4F49-B095-AEC2B93DEF13}"/>
              </a:ext>
            </a:extLst>
          </p:cNvPr>
          <p:cNvCxnSpPr/>
          <p:nvPr/>
        </p:nvCxnSpPr>
        <p:spPr>
          <a:xfrm>
            <a:off x="3715400" y="76140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40A52033-48AE-4CC3-B03B-36827517010D}"/>
              </a:ext>
            </a:extLst>
          </p:cNvPr>
          <p:cNvCxnSpPr/>
          <p:nvPr/>
        </p:nvCxnSpPr>
        <p:spPr>
          <a:xfrm>
            <a:off x="3716800" y="79884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96589459"/>
      </p:ext>
    </p:extLst>
  </p:cSld>
  <p:clrMap bg1="lt1" tx1="dk1" bg2="lt2" tx2="dk2" accent1="accent1" accent2="accent2" accent3="accent3" accent4="accent4" accent5="accent5" accent6="accent6" hlink="hlink" folHlink="folHlink"/>
  <p:hf/>
  <p:extLst>
    <p:ext uri="{56416CCD-93CA-4268-BC5B-53C4BB910035}">
      <p15:sldGuideLst xmlns:p15="http://schemas.microsoft.com/office/powerpoint/2012/main">
        <p15:guide id="1" pos="4076" userDrawn="1">
          <p15:clr>
            <a:srgbClr val="547EBF"/>
          </p15:clr>
        </p15:guide>
        <p15:guide id="2" orient="horz" pos="450" userDrawn="1">
          <p15:clr>
            <a:srgbClr val="547EBF"/>
          </p15:clr>
        </p15:guide>
        <p15:guide id="3" pos="302" userDrawn="1">
          <p15:clr>
            <a:srgbClr val="547EBF"/>
          </p15:clr>
        </p15:guide>
        <p15:guide id="4" orient="horz" pos="126" userDrawn="1">
          <p15:clr>
            <a:srgbClr val="547EBF"/>
          </p15:clr>
        </p15:guide>
        <p15:guide id="5" pos="2071" userDrawn="1">
          <p15:clr>
            <a:srgbClr val="547EBF"/>
          </p15:clr>
        </p15:guide>
        <p15:guide id="6" pos="2336" userDrawn="1">
          <p15:clr>
            <a:srgbClr val="547EBF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79424" y="172800"/>
            <a:ext cx="4587575" cy="495537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lnSpc>
                <a:spcPct val="100000"/>
              </a:lnSpc>
              <a:defRPr sz="1600" b="1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Use native PPT "Header and Footer" to set header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318200" y="8737200"/>
            <a:ext cx="1684800" cy="23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 baseline="0">
                <a:solidFill>
                  <a:schemeClr val="tx2"/>
                </a:solidFill>
                <a:latin typeface="+mn-lt"/>
              </a:defRPr>
            </a:lvl1pPr>
          </a:lstStyle>
          <a:p>
            <a:fld id="{2658EC27-0245-4AF2-B202-B3DBFC05E02B}" type="datetime4">
              <a:rPr lang="en-US"/>
              <a:t>October 24, 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80600" y="1041400"/>
            <a:ext cx="5990050" cy="336940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479425" y="4598988"/>
            <a:ext cx="5991225" cy="3717012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  <a:p>
            <a:pPr lvl="8"/>
            <a:r>
              <a:rPr lang="en-US" dirty="0"/>
              <a:t>	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479425" y="8737200"/>
            <a:ext cx="3838774" cy="23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/>
              <a:t>Use native PPT "Header and Footer" to set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6003000" y="8737200"/>
            <a:ext cx="467651" cy="23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 baseline="0">
                <a:solidFill>
                  <a:schemeClr val="tx2"/>
                </a:solidFill>
                <a:latin typeface="+mn-lt"/>
              </a:defRPr>
            </a:lvl1pPr>
          </a:lstStyle>
          <a:p>
            <a:fld id="{129D5E52-2129-4526-A67E-44A5DCA639D6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8" name="Logo">
            <a:extLst>
              <a:ext uri="{FF2B5EF4-FFF2-40B4-BE49-F238E27FC236}">
                <a16:creationId xmlns:a16="http://schemas.microsoft.com/office/drawing/2014/main" id="{30DDDF2A-A7C0-45C4-9158-4A0DE292D298}"/>
              </a:ext>
            </a:extLst>
          </p:cNvPr>
          <p:cNvSpPr/>
          <p:nvPr/>
        </p:nvSpPr>
        <p:spPr bwMode="black">
          <a:xfrm>
            <a:off x="5143038" y="219600"/>
            <a:ext cx="1336044" cy="374400"/>
          </a:xfrm>
          <a:custGeom>
            <a:avLst/>
            <a:gdLst>
              <a:gd name="connsiteX0" fmla="*/ 135721 w 1078169"/>
              <a:gd name="connsiteY0" fmla="*/ 71284 h 302134"/>
              <a:gd name="connsiteX1" fmla="*/ 109085 w 1078169"/>
              <a:gd name="connsiteY1" fmla="*/ 189249 h 302134"/>
              <a:gd name="connsiteX2" fmla="*/ 161091 w 1078169"/>
              <a:gd name="connsiteY2" fmla="*/ 189249 h 302134"/>
              <a:gd name="connsiteX3" fmla="*/ 394483 w 1078169"/>
              <a:gd name="connsiteY3" fmla="*/ 66210 h 302134"/>
              <a:gd name="connsiteX4" fmla="*/ 374189 w 1078169"/>
              <a:gd name="connsiteY4" fmla="*/ 89042 h 302134"/>
              <a:gd name="connsiteX5" fmla="*/ 418583 w 1078169"/>
              <a:gd name="connsiteY5" fmla="*/ 123290 h 302134"/>
              <a:gd name="connsiteX6" fmla="*/ 499763 w 1078169"/>
              <a:gd name="connsiteY6" fmla="*/ 210811 h 302134"/>
              <a:gd name="connsiteX7" fmla="*/ 422389 w 1078169"/>
              <a:gd name="connsiteY7" fmla="*/ 295797 h 302134"/>
              <a:gd name="connsiteX8" fmla="*/ 287933 w 1078169"/>
              <a:gd name="connsiteY8" fmla="*/ 281844 h 302134"/>
              <a:gd name="connsiteX9" fmla="*/ 287933 w 1078169"/>
              <a:gd name="connsiteY9" fmla="*/ 213348 h 302134"/>
              <a:gd name="connsiteX10" fmla="*/ 367845 w 1078169"/>
              <a:gd name="connsiteY10" fmla="*/ 242522 h 302134"/>
              <a:gd name="connsiteX11" fmla="*/ 412241 w 1078169"/>
              <a:gd name="connsiteY11" fmla="*/ 209543 h 302134"/>
              <a:gd name="connsiteX12" fmla="*/ 381797 w 1078169"/>
              <a:gd name="connsiteY12" fmla="*/ 176564 h 302134"/>
              <a:gd name="connsiteX13" fmla="*/ 394483 w 1078169"/>
              <a:gd name="connsiteY13" fmla="*/ 66210 h 302134"/>
              <a:gd name="connsiteX14" fmla="*/ 894245 w 1078169"/>
              <a:gd name="connsiteY14" fmla="*/ 9131 h 302134"/>
              <a:gd name="connsiteX15" fmla="*/ 972889 w 1078169"/>
              <a:gd name="connsiteY15" fmla="*/ 9131 h 302134"/>
              <a:gd name="connsiteX16" fmla="*/ 972889 w 1078169"/>
              <a:gd name="connsiteY16" fmla="*/ 236181 h 302134"/>
              <a:gd name="connsiteX17" fmla="*/ 1078169 w 1078169"/>
              <a:gd name="connsiteY17" fmla="*/ 236181 h 302134"/>
              <a:gd name="connsiteX18" fmla="*/ 1078169 w 1078169"/>
              <a:gd name="connsiteY18" fmla="*/ 295797 h 302134"/>
              <a:gd name="connsiteX19" fmla="*/ 894245 w 1078169"/>
              <a:gd name="connsiteY19" fmla="*/ 295797 h 302134"/>
              <a:gd name="connsiteX20" fmla="*/ 564453 w 1078169"/>
              <a:gd name="connsiteY20" fmla="*/ 9131 h 302134"/>
              <a:gd name="connsiteX21" fmla="*/ 650707 w 1078169"/>
              <a:gd name="connsiteY21" fmla="*/ 9131 h 302134"/>
              <a:gd name="connsiteX22" fmla="*/ 690029 w 1078169"/>
              <a:gd name="connsiteY22" fmla="*/ 181638 h 302134"/>
              <a:gd name="connsiteX23" fmla="*/ 730617 w 1078169"/>
              <a:gd name="connsiteY23" fmla="*/ 9131 h 302134"/>
              <a:gd name="connsiteX24" fmla="*/ 816873 w 1078169"/>
              <a:gd name="connsiteY24" fmla="*/ 9131 h 302134"/>
              <a:gd name="connsiteX25" fmla="*/ 854925 w 1078169"/>
              <a:gd name="connsiteY25" fmla="*/ 295797 h 302134"/>
              <a:gd name="connsiteX26" fmla="*/ 773745 w 1078169"/>
              <a:gd name="connsiteY26" fmla="*/ 295797 h 302134"/>
              <a:gd name="connsiteX27" fmla="*/ 759793 w 1078169"/>
              <a:gd name="connsiteY27" fmla="*/ 114411 h 302134"/>
              <a:gd name="connsiteX28" fmla="*/ 721739 w 1078169"/>
              <a:gd name="connsiteY28" fmla="*/ 295797 h 302134"/>
              <a:gd name="connsiteX29" fmla="*/ 658317 w 1078169"/>
              <a:gd name="connsiteY29" fmla="*/ 295797 h 302134"/>
              <a:gd name="connsiteX30" fmla="*/ 621533 w 1078169"/>
              <a:gd name="connsiteY30" fmla="*/ 114411 h 302134"/>
              <a:gd name="connsiteX31" fmla="*/ 607581 w 1078169"/>
              <a:gd name="connsiteY31" fmla="*/ 295797 h 302134"/>
              <a:gd name="connsiteX32" fmla="*/ 526401 w 1078169"/>
              <a:gd name="connsiteY32" fmla="*/ 295797 h 302134"/>
              <a:gd name="connsiteX33" fmla="*/ 86253 w 1078169"/>
              <a:gd name="connsiteY33" fmla="*/ 9131 h 302134"/>
              <a:gd name="connsiteX34" fmla="*/ 183923 w 1078169"/>
              <a:gd name="connsiteY34" fmla="*/ 9131 h 302134"/>
              <a:gd name="connsiteX35" fmla="*/ 270177 w 1078169"/>
              <a:gd name="connsiteY35" fmla="*/ 295797 h 302134"/>
              <a:gd name="connsiteX36" fmla="*/ 183923 w 1078169"/>
              <a:gd name="connsiteY36" fmla="*/ 295797 h 302134"/>
              <a:gd name="connsiteX37" fmla="*/ 172507 w 1078169"/>
              <a:gd name="connsiteY37" fmla="*/ 243791 h 302134"/>
              <a:gd name="connsiteX38" fmla="*/ 97669 w 1078169"/>
              <a:gd name="connsiteY38" fmla="*/ 243791 h 302134"/>
              <a:gd name="connsiteX39" fmla="*/ 86253 w 1078169"/>
              <a:gd name="connsiteY39" fmla="*/ 295797 h 302134"/>
              <a:gd name="connsiteX40" fmla="*/ 0 w 1078169"/>
              <a:gd name="connsiteY40" fmla="*/ 295797 h 302134"/>
              <a:gd name="connsiteX41" fmla="*/ 416643 w 1078169"/>
              <a:gd name="connsiteY41" fmla="*/ 173 h 302134"/>
              <a:gd name="connsiteX42" fmla="*/ 478201 w 1078169"/>
              <a:gd name="connsiteY42" fmla="*/ 14205 h 302134"/>
              <a:gd name="connsiteX43" fmla="*/ 478201 w 1078169"/>
              <a:gd name="connsiteY43" fmla="*/ 89043 h 302134"/>
              <a:gd name="connsiteX44" fmla="*/ 294277 w 1078169"/>
              <a:gd name="connsiteY44" fmla="*/ 109337 h 302134"/>
              <a:gd name="connsiteX45" fmla="*/ 416643 w 1078169"/>
              <a:gd name="connsiteY45" fmla="*/ 173 h 302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1078169" h="302134">
                <a:moveTo>
                  <a:pt x="135721" y="71284"/>
                </a:moveTo>
                <a:lnTo>
                  <a:pt x="109085" y="189249"/>
                </a:lnTo>
                <a:lnTo>
                  <a:pt x="161091" y="189249"/>
                </a:lnTo>
                <a:close/>
                <a:moveTo>
                  <a:pt x="394483" y="66210"/>
                </a:moveTo>
                <a:cubicBezTo>
                  <a:pt x="377993" y="71284"/>
                  <a:pt x="374189" y="80163"/>
                  <a:pt x="374189" y="89042"/>
                </a:cubicBezTo>
                <a:cubicBezTo>
                  <a:pt x="374189" y="109337"/>
                  <a:pt x="400825" y="115679"/>
                  <a:pt x="418583" y="123290"/>
                </a:cubicBezTo>
                <a:cubicBezTo>
                  <a:pt x="447757" y="134705"/>
                  <a:pt x="501033" y="148658"/>
                  <a:pt x="499763" y="210811"/>
                </a:cubicBezTo>
                <a:cubicBezTo>
                  <a:pt x="499763" y="247596"/>
                  <a:pt x="464247" y="283112"/>
                  <a:pt x="422389" y="295797"/>
                </a:cubicBezTo>
                <a:cubicBezTo>
                  <a:pt x="371653" y="311018"/>
                  <a:pt x="319645" y="295797"/>
                  <a:pt x="287933" y="281844"/>
                </a:cubicBezTo>
                <a:lnTo>
                  <a:pt x="287933" y="213348"/>
                </a:lnTo>
                <a:cubicBezTo>
                  <a:pt x="314573" y="231106"/>
                  <a:pt x="338671" y="242522"/>
                  <a:pt x="367845" y="242522"/>
                </a:cubicBezTo>
                <a:cubicBezTo>
                  <a:pt x="385605" y="242522"/>
                  <a:pt x="412241" y="233643"/>
                  <a:pt x="412241" y="209543"/>
                </a:cubicBezTo>
                <a:cubicBezTo>
                  <a:pt x="412241" y="189248"/>
                  <a:pt x="393215" y="182906"/>
                  <a:pt x="381797" y="176564"/>
                </a:cubicBezTo>
                <a:cubicBezTo>
                  <a:pt x="318377" y="142316"/>
                  <a:pt x="337403" y="72552"/>
                  <a:pt x="394483" y="66210"/>
                </a:cubicBezTo>
                <a:close/>
                <a:moveTo>
                  <a:pt x="894245" y="9131"/>
                </a:moveTo>
                <a:lnTo>
                  <a:pt x="972889" y="9131"/>
                </a:lnTo>
                <a:lnTo>
                  <a:pt x="972889" y="236181"/>
                </a:lnTo>
                <a:lnTo>
                  <a:pt x="1078169" y="236181"/>
                </a:lnTo>
                <a:lnTo>
                  <a:pt x="1078169" y="295797"/>
                </a:lnTo>
                <a:lnTo>
                  <a:pt x="894245" y="295797"/>
                </a:lnTo>
                <a:close/>
                <a:moveTo>
                  <a:pt x="564453" y="9131"/>
                </a:moveTo>
                <a:lnTo>
                  <a:pt x="650707" y="9131"/>
                </a:lnTo>
                <a:lnTo>
                  <a:pt x="690029" y="181638"/>
                </a:lnTo>
                <a:lnTo>
                  <a:pt x="730617" y="9131"/>
                </a:lnTo>
                <a:lnTo>
                  <a:pt x="816873" y="9131"/>
                </a:lnTo>
                <a:lnTo>
                  <a:pt x="854925" y="295797"/>
                </a:lnTo>
                <a:lnTo>
                  <a:pt x="773745" y="295797"/>
                </a:lnTo>
                <a:lnTo>
                  <a:pt x="759793" y="114411"/>
                </a:lnTo>
                <a:lnTo>
                  <a:pt x="721739" y="295797"/>
                </a:lnTo>
                <a:lnTo>
                  <a:pt x="658317" y="295797"/>
                </a:lnTo>
                <a:lnTo>
                  <a:pt x="621533" y="114411"/>
                </a:lnTo>
                <a:lnTo>
                  <a:pt x="607581" y="295797"/>
                </a:lnTo>
                <a:lnTo>
                  <a:pt x="526401" y="295797"/>
                </a:lnTo>
                <a:close/>
                <a:moveTo>
                  <a:pt x="86253" y="9131"/>
                </a:moveTo>
                <a:lnTo>
                  <a:pt x="183923" y="9131"/>
                </a:lnTo>
                <a:lnTo>
                  <a:pt x="270177" y="295797"/>
                </a:lnTo>
                <a:lnTo>
                  <a:pt x="183923" y="295797"/>
                </a:lnTo>
                <a:lnTo>
                  <a:pt x="172507" y="243791"/>
                </a:lnTo>
                <a:lnTo>
                  <a:pt x="97669" y="243791"/>
                </a:lnTo>
                <a:lnTo>
                  <a:pt x="86253" y="295797"/>
                </a:lnTo>
                <a:lnTo>
                  <a:pt x="0" y="295797"/>
                </a:lnTo>
                <a:close/>
                <a:moveTo>
                  <a:pt x="416643" y="173"/>
                </a:moveTo>
                <a:cubicBezTo>
                  <a:pt x="438563" y="1124"/>
                  <a:pt x="460127" y="5960"/>
                  <a:pt x="478201" y="14205"/>
                </a:cubicBezTo>
                <a:cubicBezTo>
                  <a:pt x="479469" y="31963"/>
                  <a:pt x="480737" y="49721"/>
                  <a:pt x="478201" y="89043"/>
                </a:cubicBezTo>
                <a:cubicBezTo>
                  <a:pt x="407169" y="26889"/>
                  <a:pt x="295545" y="52258"/>
                  <a:pt x="294277" y="109337"/>
                </a:cubicBezTo>
                <a:cubicBezTo>
                  <a:pt x="281911" y="29426"/>
                  <a:pt x="350883" y="-2681"/>
                  <a:pt x="416643" y="173"/>
                </a:cubicBezTo>
                <a:close/>
              </a:path>
            </a:pathLst>
          </a:custGeom>
          <a:solidFill>
            <a:srgbClr val="10069F"/>
          </a:solidFill>
          <a:ln w="1268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endParaRPr lang="en-US" sz="1200" b="1" baseline="0" dirty="0">
              <a:solidFill>
                <a:schemeClr val="tx2"/>
              </a:solidFill>
              <a:latin typeface="+mn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2068119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374400" rtl="0" eaLnBrk="1" latinLnBrk="0" hangingPunct="1">
      <a:lnSpc>
        <a:spcPct val="105000"/>
      </a:lnSpc>
      <a:spcAft>
        <a:spcPts val="737"/>
      </a:spcAft>
      <a:defRPr sz="1200" kern="1200" baseline="0">
        <a:solidFill>
          <a:schemeClr val="tx1"/>
        </a:solidFill>
        <a:latin typeface="+mn-lt"/>
        <a:ea typeface="+mn-ea"/>
        <a:cs typeface="+mn-cs"/>
      </a:defRPr>
    </a:lvl1pPr>
    <a:lvl2pPr marL="0" algn="l" defTabSz="374400" rtl="0" eaLnBrk="1" latinLnBrk="0" hangingPunct="1">
      <a:lnSpc>
        <a:spcPct val="105000"/>
      </a:lnSpc>
      <a:spcAft>
        <a:spcPts val="737"/>
      </a:spcAft>
      <a:defRPr sz="1200" b="1" kern="1200" baseline="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234000" indent="-234000" algn="l" defTabSz="374400" rtl="0" eaLnBrk="1" latinLnBrk="0" hangingPunct="1">
      <a:lnSpc>
        <a:spcPct val="105000"/>
      </a:lnSpc>
      <a:spcAft>
        <a:spcPts val="737"/>
      </a:spcAft>
      <a:buSzPct val="110000"/>
      <a:buFont typeface="Arial" panose="020B0604020202020204" pitchFamily="34" charset="0"/>
      <a:buChar char="•"/>
      <a:defRPr sz="1200" kern="1200" baseline="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468000" indent="-234000" algn="l" defTabSz="374400" rtl="0" eaLnBrk="1" latinLnBrk="0" hangingPunct="1">
      <a:lnSpc>
        <a:spcPct val="105000"/>
      </a:lnSpc>
      <a:spcAft>
        <a:spcPts val="737"/>
      </a:spcAft>
      <a:buFont typeface="Arial" panose="020B0604020202020204" pitchFamily="34" charset="0"/>
      <a:buChar char="•"/>
      <a:defRPr sz="1200" kern="1200" baseline="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702000" indent="-234000" algn="l" defTabSz="374400" rtl="0" eaLnBrk="1" latinLnBrk="0" hangingPunct="1">
      <a:lnSpc>
        <a:spcPct val="105000"/>
      </a:lnSpc>
      <a:spcAft>
        <a:spcPts val="737"/>
      </a:spcAft>
      <a:buSzPct val="90000"/>
      <a:buFont typeface="Arial" panose="020B0604020202020204" pitchFamily="34" charset="0"/>
      <a:buChar char="•"/>
      <a:defRPr sz="1200" kern="1200" baseline="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34000" indent="-234000" algn="l" defTabSz="374400" rtl="0" eaLnBrk="1" latinLnBrk="0" hangingPunct="1">
      <a:lnSpc>
        <a:spcPct val="105000"/>
      </a:lnSpc>
      <a:spcAft>
        <a:spcPts val="737"/>
      </a:spcAft>
      <a:buFont typeface="+mj-lt"/>
      <a:buAutoNum type="arabicPeriod"/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468000" indent="-234000" algn="l" defTabSz="374400" rtl="0" eaLnBrk="1" latinLnBrk="0" hangingPunct="1">
      <a:lnSpc>
        <a:spcPct val="105000"/>
      </a:lnSpc>
      <a:spcAft>
        <a:spcPts val="737"/>
      </a:spcAft>
      <a:buFont typeface="+mj-lt"/>
      <a:buAutoNum type="romanLcPeriod"/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0" algn="l" defTabSz="374400" rtl="0" eaLnBrk="1" latinLnBrk="0" hangingPunct="1">
      <a:lnSpc>
        <a:spcPct val="105000"/>
      </a:lnSpc>
      <a:spcAft>
        <a:spcPts val="737"/>
      </a:spcAft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0" algn="l" defTabSz="914400" rtl="0" eaLnBrk="1" latinLnBrk="0" hangingPunct="1">
      <a:lnSpc>
        <a:spcPct val="105000"/>
      </a:lnSpc>
      <a:spcAft>
        <a:spcPts val="737"/>
      </a:spcAft>
      <a:defRPr sz="10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pos="4076" userDrawn="1">
          <p15:clr>
            <a:srgbClr val="547EBF"/>
          </p15:clr>
        </p15:guide>
        <p15:guide id="2" orient="horz" pos="421" userDrawn="1">
          <p15:clr>
            <a:srgbClr val="547EBF"/>
          </p15:clr>
        </p15:guide>
        <p15:guide id="3" pos="302" userDrawn="1">
          <p15:clr>
            <a:srgbClr val="547EBF"/>
          </p15:clr>
        </p15:guide>
        <p15:guide id="4" orient="horz" pos="96" userDrawn="1">
          <p15:clr>
            <a:srgbClr val="547EBF"/>
          </p15:clr>
        </p15:guide>
        <p15:guide id="5" orient="horz" pos="2779" userDrawn="1">
          <p15:clr>
            <a:srgbClr val="547EBF"/>
          </p15:clr>
        </p15:guide>
        <p15:guide id="7" orient="horz" pos="656" userDrawn="1">
          <p15:clr>
            <a:srgbClr val="547EBF"/>
          </p15:clr>
        </p15:guide>
        <p15:guide id="8" orient="horz" pos="2897" userDrawn="1">
          <p15:clr>
            <a:srgbClr val="547EBF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81013" y="1041400"/>
            <a:ext cx="5989637" cy="3368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 dirty="0"/>
              <a:t>Use native PPT "Header and Footer" to set header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0A13A0D2-6E67-4944-A01A-B099FC8B9EE8}" type="datetime4">
              <a:rPr lang="en-US"/>
              <a:t>October 24, 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/>
              <a:t>Use native PPT "Header and Footer" to set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9D5E52-2129-4526-A67E-44A5DCA639D6}" type="slidenum">
              <a:rPr lang="en-US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98839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81013" y="1041400"/>
            <a:ext cx="5989637" cy="3368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 dirty="0"/>
              <a:t>Use native PPT "Header and Footer" to set header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F224504F-C231-4292-97DB-1D294A4D17CF}" type="datetime4">
              <a:rPr lang="en-US"/>
              <a:t>October 24, 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/>
              <a:t>Use native PPT "Header and Footer" to set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9D5E52-2129-4526-A67E-44A5DCA639D6}" type="slidenum">
              <a:rPr lang="en-US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8574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1" preserve="1">
  <p:cSld name="Title Slide 1">
    <p:bg>
      <p:bgPr>
        <a:gradFill>
          <a:gsLst>
            <a:gs pos="99000">
              <a:srgbClr val="00A3E0"/>
            </a:gs>
            <a:gs pos="1000">
              <a:srgbClr val="10069F"/>
            </a:gs>
          </a:gsLst>
          <a:lin ang="906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8" name="Hide background Logo">
            <a:extLst>
              <a:ext uri="{FF2B5EF4-FFF2-40B4-BE49-F238E27FC236}">
                <a16:creationId xmlns:a16="http://schemas.microsoft.com/office/drawing/2014/main" id="{CD7E7ADD-A5EE-4293-9821-A81FD429DCCC}"/>
              </a:ext>
            </a:extLst>
          </p:cNvPr>
          <p:cNvSpPr/>
          <p:nvPr/>
        </p:nvSpPr>
        <p:spPr>
          <a:xfrm>
            <a:off x="292800" y="6471000"/>
            <a:ext cx="748800" cy="2808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Date Placeholder">
            <a:extLst>
              <a:ext uri="{FF2B5EF4-FFF2-40B4-BE49-F238E27FC236}">
                <a16:creationId xmlns:a16="http://schemas.microsoft.com/office/drawing/2014/main" id="{4F6A1DCD-AFA3-44B1-BB26-956115725CC6}"/>
              </a:ext>
            </a:extLst>
          </p:cNvPr>
          <p:cNvSpPr>
            <a:spLocks noGrp="1"/>
          </p:cNvSpPr>
          <p:nvPr>
            <p:ph type="dt" sz="half" idx="8"/>
          </p:nvPr>
        </p:nvSpPr>
        <p:spPr>
          <a:xfrm>
            <a:off x="4505325" y="3614462"/>
            <a:ext cx="5849475" cy="422938"/>
          </a:xfrm>
        </p:spPr>
        <p:txBody>
          <a:bodyPr wrap="square" anchor="b">
            <a:spAutoFit/>
          </a:bodyPr>
          <a:lstStyle>
            <a:lvl1pPr algn="l" defTabSz="374400">
              <a:lnSpc>
                <a:spcPct val="95000"/>
              </a:lnSpc>
              <a:spcAft>
                <a:spcPts val="737"/>
              </a:spcAft>
              <a:defRPr sz="1600" b="0" baseline="0">
                <a:solidFill>
                  <a:schemeClr val="bg1"/>
                </a:solidFill>
              </a:defRPr>
            </a:lvl1pPr>
          </a:lstStyle>
          <a:p>
            <a:fld id="{63DDB710-0227-4EAB-8159-7458BF5EFB73}" type="datetime4">
              <a:rPr lang="en-US"/>
              <a:pPr/>
              <a:t>October 24, 2023</a:t>
            </a:fld>
            <a:endParaRPr lang="en-US" dirty="0"/>
          </a:p>
        </p:txBody>
      </p:sp>
      <p:sp>
        <p:nvSpPr>
          <p:cNvPr id="9" name="Footer Placeholder (hidden)">
            <a:extLst>
              <a:ext uri="{FF2B5EF4-FFF2-40B4-BE49-F238E27FC236}">
                <a16:creationId xmlns:a16="http://schemas.microsoft.com/office/drawing/2014/main" id="{E59104A9-6371-4B6E-ADB0-1BC485D2DE73}"/>
              </a:ext>
            </a:extLst>
          </p:cNvPr>
          <p:cNvSpPr>
            <a:spLocks noGrp="1"/>
          </p:cNvSpPr>
          <p:nvPr>
            <p:ph type="ftr" sz="quarter" idx="9"/>
          </p:nvPr>
        </p:nvSpPr>
        <p:spPr>
          <a:xfrm>
            <a:off x="12182947" y="6848947"/>
            <a:ext cx="0" cy="0"/>
          </a:xfrm>
          <a:prstGeom prst="rect">
            <a:avLst/>
          </a:prstGeom>
        </p:spPr>
        <p:txBody>
          <a:bodyPr/>
          <a:lstStyle>
            <a:lvl1pPr algn="r">
              <a:defRPr>
                <a:noFill/>
              </a:defRPr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10" name="Slide Number Placeholder (hidden)">
            <a:extLst>
              <a:ext uri="{FF2B5EF4-FFF2-40B4-BE49-F238E27FC236}">
                <a16:creationId xmlns:a16="http://schemas.microsoft.com/office/drawing/2014/main" id="{03B6870E-CF8C-4EED-BB0D-66F9991BDBC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2182947" y="6848947"/>
            <a:ext cx="0" cy="0"/>
          </a:xfrm>
          <a:prstGeom prst="rect">
            <a:avLst/>
          </a:prstGeom>
        </p:spPr>
        <p:txBody>
          <a:bodyPr/>
          <a:lstStyle>
            <a:lvl1pPr algn="r">
              <a:defRPr>
                <a:noFill/>
              </a:defRPr>
            </a:lvl1pPr>
          </a:lstStyle>
          <a:p>
            <a:fld id="{A2218858-49EA-4BF8-8EFE-B88A4580565A}" type="slidenum">
              <a:rPr lang="en-US"/>
              <a:pPr/>
              <a:t>‹#›</a:t>
            </a:fld>
            <a:endParaRPr lang="en-US" dirty="0"/>
          </a:p>
        </p:txBody>
      </p:sp>
      <p:grpSp>
        <p:nvGrpSpPr>
          <p:cNvPr id="104" name="Grid Decoration">
            <a:extLst>
              <a:ext uri="{FF2B5EF4-FFF2-40B4-BE49-F238E27FC236}">
                <a16:creationId xmlns:a16="http://schemas.microsoft.com/office/drawing/2014/main" id="{477C5741-C323-4904-A7E4-C6EE7E7C36B1}"/>
              </a:ext>
            </a:extLst>
          </p:cNvPr>
          <p:cNvGrpSpPr/>
          <p:nvPr/>
        </p:nvGrpSpPr>
        <p:grpSpPr bwMode="ltGray">
          <a:xfrm>
            <a:off x="-525" y="-12600"/>
            <a:ext cx="12192525" cy="6870600"/>
            <a:chOff x="-525" y="-12600"/>
            <a:chExt cx="12192525" cy="6870600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791930DD-37F9-4E5C-AF98-367271E48F65}"/>
                </a:ext>
              </a:extLst>
            </p:cNvPr>
            <p:cNvCxnSpPr/>
            <p:nvPr userDrawn="1"/>
          </p:nvCxnSpPr>
          <p:spPr bwMode="ltGray">
            <a:xfrm>
              <a:off x="0" y="5113338"/>
              <a:ext cx="121920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E4BECD12-13FA-465C-A5C9-F74D5C72FF86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0" y="5348288"/>
              <a:ext cx="4130675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717E3B37-8AD5-4342-A01B-490894F55388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-525" y="5582750"/>
              <a:ext cx="41312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8FFCDC22-4C05-4409-A1A2-BA40843B63B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-525" y="5817212"/>
              <a:ext cx="41312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42442ECD-8E60-46BA-93E9-034AD2F2952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V="1">
              <a:off x="-525" y="6049963"/>
              <a:ext cx="4131200" cy="1712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FF262152-E536-45B3-B42E-FF64534BE76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-525" y="6286136"/>
              <a:ext cx="41312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93DE0786-0311-432C-BF1C-0FC4484EB54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-525" y="6520598"/>
              <a:ext cx="41312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11A26A46-5A23-4E71-86B8-D42B8AE213D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V="1">
              <a:off x="-525" y="6751638"/>
              <a:ext cx="4131200" cy="3422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3932711A-14CB-4B7E-897F-0F43D5E5EA85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4130400" y="0"/>
              <a:ext cx="0" cy="68580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550FFE11-2228-4095-8213-B7DF694B07B1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071200" y="-12600"/>
              <a:ext cx="0" cy="68580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6976BF9B-BA80-4535-9BEE-4C96B17589FE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2000" y="2539800"/>
              <a:ext cx="41184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2973A65C-8424-4A10-A797-3CD4EB372522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2584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F9D055B9-1151-4A29-8BC8-F226B88C224E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884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8FC626A0-B95A-4A60-90B8-04C99A492EE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4456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1D2E554C-FE97-4D2B-BCC1-AB142412B25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6328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7F3C16FC-5417-4C75-B329-3F86AA17A1A7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820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F75E7C3B-12AE-4BB8-BBB5-6BDED40828A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0072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368D9680-1780-4095-A6A5-2D3C993B814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1944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BF97DB5B-2E43-4A4E-8C59-51F0966A4136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3816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87ACA9E8-0A0A-4BEC-B611-67DE5E820CA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5688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103294FB-D050-4427-B3A7-7AB40551D4A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756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6F44C384-B751-406C-BE7A-68C3296941EA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9432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Straight Connector 101">
              <a:extLst>
                <a:ext uri="{FF2B5EF4-FFF2-40B4-BE49-F238E27FC236}">
                  <a16:creationId xmlns:a16="http://schemas.microsoft.com/office/drawing/2014/main" id="{575287CC-10F4-4756-ACFF-FC235CC31B94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6968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Straight Connector 102">
              <a:extLst>
                <a:ext uri="{FF2B5EF4-FFF2-40B4-BE49-F238E27FC236}">
                  <a16:creationId xmlns:a16="http://schemas.microsoft.com/office/drawing/2014/main" id="{EBBA423D-CED0-4685-B301-48162C9D196A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5096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103">
              <a:extLst>
                <a:ext uri="{FF2B5EF4-FFF2-40B4-BE49-F238E27FC236}">
                  <a16:creationId xmlns:a16="http://schemas.microsoft.com/office/drawing/2014/main" id="{EF37AE5F-737F-47BB-8C7C-73008137DF0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3224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6AB332B4-661E-480F-B3A7-03A1659F61C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1352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8B801BD6-B64D-436A-A2C8-FE764D59FA3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948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82BFCE8B-EFDD-4BF9-8236-5088DA0366C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7608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C131BE53-9ED4-46DB-8379-0EAF4BA536FA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5736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096AB21B-7279-46BA-BE0B-765FFC84504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2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D078673B-947B-4697-BE71-880F0EEF3245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992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900A1DFC-F57B-4770-90BD-038EC73C4118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864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1" name="Picture Placeholder (P41)">
            <a:extLst>
              <a:ext uri="{FF2B5EF4-FFF2-40B4-BE49-F238E27FC236}">
                <a16:creationId xmlns:a16="http://schemas.microsoft.com/office/drawing/2014/main" id="{D463EF9F-EC08-4F41-95E7-7BC682D3D8E8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4136750 w 12192000"/>
              <a:gd name="connsiteY0" fmla="*/ 5113800 h 6858000"/>
              <a:gd name="connsiteX1" fmla="*/ 4364400 w 12192000"/>
              <a:gd name="connsiteY1" fmla="*/ 5113800 h 6858000"/>
              <a:gd name="connsiteX2" fmla="*/ 12192000 w 12192000"/>
              <a:gd name="connsiteY2" fmla="*/ 5113800 h 6858000"/>
              <a:gd name="connsiteX3" fmla="*/ 12192000 w 12192000"/>
              <a:gd name="connsiteY3" fmla="*/ 6858000 h 6858000"/>
              <a:gd name="connsiteX4" fmla="*/ 4136750 w 12192000"/>
              <a:gd name="connsiteY4" fmla="*/ 6858000 h 6858000"/>
              <a:gd name="connsiteX5" fmla="*/ 0 w 12192000"/>
              <a:gd name="connsiteY5" fmla="*/ 5113800 h 6858000"/>
              <a:gd name="connsiteX6" fmla="*/ 4130400 w 12192000"/>
              <a:gd name="connsiteY6" fmla="*/ 5113800 h 6858000"/>
              <a:gd name="connsiteX7" fmla="*/ 4130400 w 12192000"/>
              <a:gd name="connsiteY7" fmla="*/ 6858000 h 6858000"/>
              <a:gd name="connsiteX8" fmla="*/ 0 w 12192000"/>
              <a:gd name="connsiteY8" fmla="*/ 6858000 h 6858000"/>
              <a:gd name="connsiteX9" fmla="*/ 0 w 12192000"/>
              <a:gd name="connsiteY9" fmla="*/ 0 h 6858000"/>
              <a:gd name="connsiteX10" fmla="*/ 4130400 w 12192000"/>
              <a:gd name="connsiteY10" fmla="*/ 0 h 6858000"/>
              <a:gd name="connsiteX11" fmla="*/ 4130400 w 12192000"/>
              <a:gd name="connsiteY11" fmla="*/ 5067000 h 6858000"/>
              <a:gd name="connsiteX12" fmla="*/ 4130400 w 12192000"/>
              <a:gd name="connsiteY12" fmla="*/ 5107450 h 6858000"/>
              <a:gd name="connsiteX13" fmla="*/ 0 w 12192000"/>
              <a:gd name="connsiteY13" fmla="*/ 510745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92000" h="6858000">
                <a:moveTo>
                  <a:pt x="4136750" y="5113800"/>
                </a:moveTo>
                <a:lnTo>
                  <a:pt x="4364400" y="5113800"/>
                </a:lnTo>
                <a:lnTo>
                  <a:pt x="12192000" y="5113800"/>
                </a:lnTo>
                <a:lnTo>
                  <a:pt x="12192000" y="6858000"/>
                </a:lnTo>
                <a:lnTo>
                  <a:pt x="4136750" y="6858000"/>
                </a:lnTo>
                <a:close/>
                <a:moveTo>
                  <a:pt x="0" y="5113800"/>
                </a:moveTo>
                <a:lnTo>
                  <a:pt x="4130400" y="5113800"/>
                </a:lnTo>
                <a:lnTo>
                  <a:pt x="4130400" y="6858000"/>
                </a:lnTo>
                <a:lnTo>
                  <a:pt x="0" y="6858000"/>
                </a:lnTo>
                <a:close/>
                <a:moveTo>
                  <a:pt x="0" y="0"/>
                </a:moveTo>
                <a:lnTo>
                  <a:pt x="4130400" y="0"/>
                </a:lnTo>
                <a:lnTo>
                  <a:pt x="4130400" y="5067000"/>
                </a:lnTo>
                <a:lnTo>
                  <a:pt x="4130400" y="5107450"/>
                </a:lnTo>
                <a:lnTo>
                  <a:pt x="0" y="5107450"/>
                </a:lnTo>
                <a:close/>
              </a:path>
            </a:pathLst>
          </a:custGeom>
          <a:noFill/>
        </p:spPr>
        <p:txBody>
          <a:bodyPr wrap="square" lIns="396000" rIns="396000" bIns="468000" anchor="ctr" anchorCtr="0">
            <a:noAutofit/>
          </a:bodyPr>
          <a:lstStyle>
            <a:lvl1pPr algn="l"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on area to add picture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0CA825D8-8A74-4D85-9E5D-DA0C5C57A3B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05325" y="2025000"/>
            <a:ext cx="5849475" cy="467820"/>
          </a:xfrm>
        </p:spPr>
        <p:txBody>
          <a:bodyPr tIns="0" bIns="0" anchor="b"/>
          <a:lstStyle>
            <a:lvl1pPr algn="l" defTabSz="374400">
              <a:lnSpc>
                <a:spcPct val="95000"/>
              </a:lnSpc>
              <a:spcAft>
                <a:spcPts val="0"/>
              </a:spcAft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heading</a:t>
            </a:r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B79FE9FA-B090-40ED-A66C-FC46A2929FA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05325" y="2492819"/>
            <a:ext cx="5849475" cy="371784"/>
          </a:xfrm>
        </p:spPr>
        <p:txBody>
          <a:bodyPr wrap="square" tIns="3600">
            <a:noAutofit/>
          </a:bodyPr>
          <a:lstStyle>
            <a:lvl1pPr>
              <a:defRPr sz="2400" b="1" baseline="0">
                <a:solidFill>
                  <a:schemeClr val="bg1"/>
                </a:solidFill>
              </a:defRPr>
            </a:lvl1pPr>
            <a:lvl2pPr>
              <a:defRPr sz="2400" baseline="0"/>
            </a:lvl2pPr>
            <a:lvl3pPr>
              <a:defRPr sz="2400" baseline="0"/>
            </a:lvl3pPr>
            <a:lvl4pPr>
              <a:defRPr sz="2400" baseline="0"/>
            </a:lvl4pPr>
            <a:lvl5pPr>
              <a:defRPr sz="2400" baseline="0"/>
            </a:lvl5pPr>
            <a:lvl6pPr>
              <a:defRPr sz="2400" baseline="0"/>
            </a:lvl6pPr>
            <a:lvl7pPr>
              <a:defRPr sz="2400" baseline="0"/>
            </a:lvl7pPr>
            <a:lvl8pPr>
              <a:defRPr sz="2400" baseline="0"/>
            </a:lvl8pPr>
            <a:lvl9pPr>
              <a:defRPr sz="2400" baseline="0"/>
            </a:lvl9pPr>
          </a:lstStyle>
          <a:p>
            <a:r>
              <a:rPr lang="en-US" dirty="0"/>
              <a:t>Click to edit subheading</a:t>
            </a:r>
          </a:p>
        </p:txBody>
      </p:sp>
      <p:sp>
        <p:nvSpPr>
          <p:cNvPr id="103" name="Logo">
            <a:extLst>
              <a:ext uri="{FF2B5EF4-FFF2-40B4-BE49-F238E27FC236}">
                <a16:creationId xmlns:a16="http://schemas.microsoft.com/office/drawing/2014/main" id="{66B4BCD1-6E4A-40C1-85DC-38A5A7EEA082}"/>
              </a:ext>
            </a:extLst>
          </p:cNvPr>
          <p:cNvSpPr>
            <a:spLocks noChangeAspect="1"/>
          </p:cNvSpPr>
          <p:nvPr/>
        </p:nvSpPr>
        <p:spPr bwMode="black">
          <a:xfrm>
            <a:off x="10111908" y="433388"/>
            <a:ext cx="1694330" cy="468412"/>
          </a:xfrm>
          <a:custGeom>
            <a:avLst/>
            <a:gdLst>
              <a:gd name="connsiteX0" fmla="*/ 322580 w 2575560"/>
              <a:gd name="connsiteY0" fmla="*/ 171554 h 719869"/>
              <a:gd name="connsiteX1" fmla="*/ 261620 w 2575560"/>
              <a:gd name="connsiteY1" fmla="*/ 452224 h 719869"/>
              <a:gd name="connsiteX2" fmla="*/ 384810 w 2575560"/>
              <a:gd name="connsiteY2" fmla="*/ 452224 h 719869"/>
              <a:gd name="connsiteX3" fmla="*/ 941070 w 2575560"/>
              <a:gd name="connsiteY3" fmla="*/ 157584 h 719869"/>
              <a:gd name="connsiteX4" fmla="*/ 892810 w 2575560"/>
              <a:gd name="connsiteY4" fmla="*/ 212194 h 719869"/>
              <a:gd name="connsiteX5" fmla="*/ 998220 w 2575560"/>
              <a:gd name="connsiteY5" fmla="*/ 293474 h 719869"/>
              <a:gd name="connsiteX6" fmla="*/ 1195070 w 2575560"/>
              <a:gd name="connsiteY6" fmla="*/ 500484 h 719869"/>
              <a:gd name="connsiteX7" fmla="*/ 1009650 w 2575560"/>
              <a:gd name="connsiteY7" fmla="*/ 703684 h 719869"/>
              <a:gd name="connsiteX8" fmla="*/ 687070 w 2575560"/>
              <a:gd name="connsiteY8" fmla="*/ 671934 h 719869"/>
              <a:gd name="connsiteX9" fmla="*/ 687070 w 2575560"/>
              <a:gd name="connsiteY9" fmla="*/ 506834 h 719869"/>
              <a:gd name="connsiteX10" fmla="*/ 876300 w 2575560"/>
              <a:gd name="connsiteY10" fmla="*/ 577954 h 719869"/>
              <a:gd name="connsiteX11" fmla="*/ 981710 w 2575560"/>
              <a:gd name="connsiteY11" fmla="*/ 500484 h 719869"/>
              <a:gd name="connsiteX12" fmla="*/ 909320 w 2575560"/>
              <a:gd name="connsiteY12" fmla="*/ 420474 h 719869"/>
              <a:gd name="connsiteX13" fmla="*/ 941070 w 2575560"/>
              <a:gd name="connsiteY13" fmla="*/ 157584 h 719869"/>
              <a:gd name="connsiteX14" fmla="*/ 2136140 w 2575560"/>
              <a:gd name="connsiteY14" fmla="*/ 20424 h 719869"/>
              <a:gd name="connsiteX15" fmla="*/ 2321560 w 2575560"/>
              <a:gd name="connsiteY15" fmla="*/ 20424 h 719869"/>
              <a:gd name="connsiteX16" fmla="*/ 2321560 w 2575560"/>
              <a:gd name="connsiteY16" fmla="*/ 562714 h 719869"/>
              <a:gd name="connsiteX17" fmla="*/ 2575560 w 2575560"/>
              <a:gd name="connsiteY17" fmla="*/ 562714 h 719869"/>
              <a:gd name="connsiteX18" fmla="*/ 2575560 w 2575560"/>
              <a:gd name="connsiteY18" fmla="*/ 706224 h 719869"/>
              <a:gd name="connsiteX19" fmla="*/ 2136140 w 2575560"/>
              <a:gd name="connsiteY19" fmla="*/ 706224 h 719869"/>
              <a:gd name="connsiteX20" fmla="*/ 1346200 w 2575560"/>
              <a:gd name="connsiteY20" fmla="*/ 20424 h 719869"/>
              <a:gd name="connsiteX21" fmla="*/ 1551940 w 2575560"/>
              <a:gd name="connsiteY21" fmla="*/ 20424 h 719869"/>
              <a:gd name="connsiteX22" fmla="*/ 1648460 w 2575560"/>
              <a:gd name="connsiteY22" fmla="*/ 431904 h 719869"/>
              <a:gd name="connsiteX23" fmla="*/ 1743710 w 2575560"/>
              <a:gd name="connsiteY23" fmla="*/ 20424 h 719869"/>
              <a:gd name="connsiteX24" fmla="*/ 1950720 w 2575560"/>
              <a:gd name="connsiteY24" fmla="*/ 20424 h 719869"/>
              <a:gd name="connsiteX25" fmla="*/ 2039620 w 2575560"/>
              <a:gd name="connsiteY25" fmla="*/ 706224 h 719869"/>
              <a:gd name="connsiteX26" fmla="*/ 1846580 w 2575560"/>
              <a:gd name="connsiteY26" fmla="*/ 706224 h 719869"/>
              <a:gd name="connsiteX27" fmla="*/ 1813560 w 2575560"/>
              <a:gd name="connsiteY27" fmla="*/ 274424 h 719869"/>
              <a:gd name="connsiteX28" fmla="*/ 1723390 w 2575560"/>
              <a:gd name="connsiteY28" fmla="*/ 706224 h 719869"/>
              <a:gd name="connsiteX29" fmla="*/ 1572260 w 2575560"/>
              <a:gd name="connsiteY29" fmla="*/ 706224 h 719869"/>
              <a:gd name="connsiteX30" fmla="*/ 1483360 w 2575560"/>
              <a:gd name="connsiteY30" fmla="*/ 274424 h 719869"/>
              <a:gd name="connsiteX31" fmla="*/ 1449070 w 2575560"/>
              <a:gd name="connsiteY31" fmla="*/ 706224 h 719869"/>
              <a:gd name="connsiteX32" fmla="*/ 1257300 w 2575560"/>
              <a:gd name="connsiteY32" fmla="*/ 706224 h 719869"/>
              <a:gd name="connsiteX33" fmla="*/ 205740 w 2575560"/>
              <a:gd name="connsiteY33" fmla="*/ 20424 h 719869"/>
              <a:gd name="connsiteX34" fmla="*/ 439420 w 2575560"/>
              <a:gd name="connsiteY34" fmla="*/ 20424 h 719869"/>
              <a:gd name="connsiteX35" fmla="*/ 645160 w 2575560"/>
              <a:gd name="connsiteY35" fmla="*/ 706224 h 719869"/>
              <a:gd name="connsiteX36" fmla="*/ 439420 w 2575560"/>
              <a:gd name="connsiteY36" fmla="*/ 706224 h 719869"/>
              <a:gd name="connsiteX37" fmla="*/ 411480 w 2575560"/>
              <a:gd name="connsiteY37" fmla="*/ 583034 h 719869"/>
              <a:gd name="connsiteX38" fmla="*/ 232410 w 2575560"/>
              <a:gd name="connsiteY38" fmla="*/ 583034 h 719869"/>
              <a:gd name="connsiteX39" fmla="*/ 204470 w 2575560"/>
              <a:gd name="connsiteY39" fmla="*/ 706224 h 719869"/>
              <a:gd name="connsiteX40" fmla="*/ 0 w 2575560"/>
              <a:gd name="connsiteY40" fmla="*/ 706224 h 719869"/>
              <a:gd name="connsiteX41" fmla="*/ 994112 w 2575560"/>
              <a:gd name="connsiteY41" fmla="*/ 422 h 719869"/>
              <a:gd name="connsiteX42" fmla="*/ 1140459 w 2575560"/>
              <a:gd name="connsiteY42" fmla="*/ 34395 h 719869"/>
              <a:gd name="connsiteX43" fmla="*/ 1140459 w 2575560"/>
              <a:gd name="connsiteY43" fmla="*/ 212195 h 719869"/>
              <a:gd name="connsiteX44" fmla="*/ 701040 w 2575560"/>
              <a:gd name="connsiteY44" fmla="*/ 260455 h 719869"/>
              <a:gd name="connsiteX45" fmla="*/ 994112 w 2575560"/>
              <a:gd name="connsiteY45" fmla="*/ 422 h 7198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2575560" h="719869">
                <a:moveTo>
                  <a:pt x="322580" y="171554"/>
                </a:moveTo>
                <a:lnTo>
                  <a:pt x="261620" y="452224"/>
                </a:lnTo>
                <a:lnTo>
                  <a:pt x="384810" y="452224"/>
                </a:lnTo>
                <a:close/>
                <a:moveTo>
                  <a:pt x="941070" y="157584"/>
                </a:moveTo>
                <a:cubicBezTo>
                  <a:pt x="900430" y="170284"/>
                  <a:pt x="892810" y="191874"/>
                  <a:pt x="892810" y="212194"/>
                </a:cubicBezTo>
                <a:cubicBezTo>
                  <a:pt x="892810" y="261724"/>
                  <a:pt x="955040" y="276964"/>
                  <a:pt x="998220" y="293474"/>
                </a:cubicBezTo>
                <a:cubicBezTo>
                  <a:pt x="1069340" y="320144"/>
                  <a:pt x="1195070" y="355704"/>
                  <a:pt x="1195070" y="500484"/>
                </a:cubicBezTo>
                <a:cubicBezTo>
                  <a:pt x="1195070" y="589384"/>
                  <a:pt x="1109980" y="673204"/>
                  <a:pt x="1009650" y="703684"/>
                </a:cubicBezTo>
                <a:cubicBezTo>
                  <a:pt x="885190" y="741784"/>
                  <a:pt x="763270" y="704954"/>
                  <a:pt x="687070" y="671934"/>
                </a:cubicBezTo>
                <a:lnTo>
                  <a:pt x="687070" y="506834"/>
                </a:lnTo>
                <a:cubicBezTo>
                  <a:pt x="750570" y="552554"/>
                  <a:pt x="806450" y="576684"/>
                  <a:pt x="876300" y="577954"/>
                </a:cubicBezTo>
                <a:cubicBezTo>
                  <a:pt x="918210" y="579224"/>
                  <a:pt x="981710" y="558904"/>
                  <a:pt x="981710" y="500484"/>
                </a:cubicBezTo>
                <a:cubicBezTo>
                  <a:pt x="981710" y="449684"/>
                  <a:pt x="935990" y="434444"/>
                  <a:pt x="909320" y="420474"/>
                </a:cubicBezTo>
                <a:cubicBezTo>
                  <a:pt x="758190" y="337924"/>
                  <a:pt x="803910" y="171554"/>
                  <a:pt x="941070" y="157584"/>
                </a:cubicBezTo>
                <a:close/>
                <a:moveTo>
                  <a:pt x="2136140" y="20424"/>
                </a:moveTo>
                <a:lnTo>
                  <a:pt x="2321560" y="20424"/>
                </a:lnTo>
                <a:lnTo>
                  <a:pt x="2321560" y="562714"/>
                </a:lnTo>
                <a:lnTo>
                  <a:pt x="2575560" y="562714"/>
                </a:lnTo>
                <a:lnTo>
                  <a:pt x="2575560" y="706224"/>
                </a:lnTo>
                <a:lnTo>
                  <a:pt x="2136140" y="706224"/>
                </a:lnTo>
                <a:close/>
                <a:moveTo>
                  <a:pt x="1346200" y="20424"/>
                </a:moveTo>
                <a:lnTo>
                  <a:pt x="1551940" y="20424"/>
                </a:lnTo>
                <a:lnTo>
                  <a:pt x="1648460" y="431904"/>
                </a:lnTo>
                <a:lnTo>
                  <a:pt x="1743710" y="20424"/>
                </a:lnTo>
                <a:lnTo>
                  <a:pt x="1950720" y="20424"/>
                </a:lnTo>
                <a:lnTo>
                  <a:pt x="2039620" y="706224"/>
                </a:lnTo>
                <a:lnTo>
                  <a:pt x="1846580" y="706224"/>
                </a:lnTo>
                <a:lnTo>
                  <a:pt x="1813560" y="274424"/>
                </a:lnTo>
                <a:lnTo>
                  <a:pt x="1723390" y="706224"/>
                </a:lnTo>
                <a:lnTo>
                  <a:pt x="1572260" y="706224"/>
                </a:lnTo>
                <a:lnTo>
                  <a:pt x="1483360" y="274424"/>
                </a:lnTo>
                <a:lnTo>
                  <a:pt x="1449070" y="706224"/>
                </a:lnTo>
                <a:lnTo>
                  <a:pt x="1257300" y="706224"/>
                </a:lnTo>
                <a:close/>
                <a:moveTo>
                  <a:pt x="205740" y="20424"/>
                </a:moveTo>
                <a:lnTo>
                  <a:pt x="439420" y="20424"/>
                </a:lnTo>
                <a:lnTo>
                  <a:pt x="645160" y="706224"/>
                </a:lnTo>
                <a:lnTo>
                  <a:pt x="439420" y="706224"/>
                </a:lnTo>
                <a:lnTo>
                  <a:pt x="411480" y="583034"/>
                </a:lnTo>
                <a:lnTo>
                  <a:pt x="232410" y="583034"/>
                </a:lnTo>
                <a:lnTo>
                  <a:pt x="204470" y="706224"/>
                </a:lnTo>
                <a:lnTo>
                  <a:pt x="0" y="706224"/>
                </a:lnTo>
                <a:close/>
                <a:moveTo>
                  <a:pt x="994112" y="422"/>
                </a:moveTo>
                <a:cubicBezTo>
                  <a:pt x="1046321" y="2724"/>
                  <a:pt x="1097597" y="14392"/>
                  <a:pt x="1140459" y="34395"/>
                </a:cubicBezTo>
                <a:cubicBezTo>
                  <a:pt x="1143000" y="75035"/>
                  <a:pt x="1146809" y="118215"/>
                  <a:pt x="1140459" y="212195"/>
                </a:cubicBezTo>
                <a:cubicBezTo>
                  <a:pt x="970280" y="63605"/>
                  <a:pt x="703580" y="123295"/>
                  <a:pt x="701040" y="260455"/>
                </a:cubicBezTo>
                <a:cubicBezTo>
                  <a:pt x="672465" y="70907"/>
                  <a:pt x="837486" y="-6483"/>
                  <a:pt x="994112" y="422"/>
                </a:cubicBezTo>
                <a:close/>
              </a:path>
            </a:pathLst>
          </a:custGeom>
          <a:solidFill>
            <a:srgbClr val="FFFFFF"/>
          </a:solidFill>
          <a:ln w="1270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MIO_AGENDA_IGNORE_NAVIGATION" hidden="1">
            <a:extLst>
              <a:ext uri="{FF2B5EF4-FFF2-40B4-BE49-F238E27FC236}">
                <a16:creationId xmlns:a16="http://schemas.microsoft.com/office/drawing/2014/main" id="{287EF10B-E93F-4F89-9FB3-1A347169686C}"/>
              </a:ext>
            </a:extLst>
          </p:cNvPr>
          <p:cNvSpPr/>
          <p:nvPr/>
        </p:nvSpPr>
        <p:spPr>
          <a:xfrm>
            <a:off x="11804960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8" name="MIO_AGENDA_IGNORE_CHAPTER_REFERENCE" hidden="1">
            <a:extLst>
              <a:ext uri="{FF2B5EF4-FFF2-40B4-BE49-F238E27FC236}">
                <a16:creationId xmlns:a16="http://schemas.microsoft.com/office/drawing/2014/main" id="{C4F5FA7D-3698-4E1D-9882-6F3C343465A7}"/>
              </a:ext>
            </a:extLst>
          </p:cNvPr>
          <p:cNvSpPr/>
          <p:nvPr/>
        </p:nvSpPr>
        <p:spPr>
          <a:xfrm>
            <a:off x="11517578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2" name="Firstname Lastname">
            <a:extLst>
              <a:ext uri="{FF2B5EF4-FFF2-40B4-BE49-F238E27FC236}">
                <a16:creationId xmlns:a16="http://schemas.microsoft.com/office/drawing/2014/main" id="{44F94BEC-5FEE-4E23-9B49-21A45B711E9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04799" y="3101490"/>
            <a:ext cx="5850000" cy="23120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First name Last name</a:t>
            </a:r>
          </a:p>
        </p:txBody>
      </p:sp>
      <p:sp>
        <p:nvSpPr>
          <p:cNvPr id="14" name="Position and Title">
            <a:extLst>
              <a:ext uri="{FF2B5EF4-FFF2-40B4-BE49-F238E27FC236}">
                <a16:creationId xmlns:a16="http://schemas.microsoft.com/office/drawing/2014/main" id="{AF3DCBE4-97FE-41EF-8901-C12C7A998AF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4504799" y="3335400"/>
            <a:ext cx="5850000" cy="233910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  <a:lvl2pPr>
              <a:defRPr baseline="0">
                <a:solidFill>
                  <a:schemeClr val="bg1"/>
                </a:solidFill>
              </a:defRPr>
            </a:lvl2pPr>
            <a:lvl3pPr>
              <a:defRPr baseline="0">
                <a:solidFill>
                  <a:schemeClr val="bg1"/>
                </a:solidFill>
              </a:defRPr>
            </a:lvl3pPr>
            <a:lvl4pPr>
              <a:defRPr baseline="0"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osition and Title</a:t>
            </a:r>
          </a:p>
        </p:txBody>
      </p:sp>
      <p:sp>
        <p:nvSpPr>
          <p:cNvPr id="16" name="Location">
            <a:extLst>
              <a:ext uri="{FF2B5EF4-FFF2-40B4-BE49-F238E27FC236}">
                <a16:creationId xmlns:a16="http://schemas.microsoft.com/office/drawing/2014/main" id="{65FC8929-EAC1-44D3-88E2-9306D0D4B232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4504799" y="4037400"/>
            <a:ext cx="5850000" cy="233910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  <a:lvl2pPr>
              <a:defRPr baseline="0">
                <a:solidFill>
                  <a:schemeClr val="bg1"/>
                </a:solidFill>
              </a:defRPr>
            </a:lvl2pPr>
            <a:lvl3pPr>
              <a:defRPr baseline="0">
                <a:solidFill>
                  <a:schemeClr val="bg1"/>
                </a:solidFill>
              </a:defRPr>
            </a:lvl3pPr>
            <a:lvl4pPr>
              <a:defRPr baseline="0"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Location</a:t>
            </a:r>
          </a:p>
        </p:txBody>
      </p:sp>
      <p:sp>
        <p:nvSpPr>
          <p:cNvPr id="18" name="Version">
            <a:extLst>
              <a:ext uri="{FF2B5EF4-FFF2-40B4-BE49-F238E27FC236}">
                <a16:creationId xmlns:a16="http://schemas.microsoft.com/office/drawing/2014/main" id="{A1534518-BDDC-41CB-B717-67772836121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04799" y="4645800"/>
            <a:ext cx="4867200" cy="280800"/>
          </a:xfrm>
          <a:noFill/>
        </p:spPr>
        <p:txBody>
          <a:bodyPr wrap="square" lIns="0" tIns="0" rIns="0" bIns="0" rtlCol="0" anchor="ctr" anchorCtr="0">
            <a:noAutofit/>
          </a:bodyPr>
          <a:lstStyle>
            <a:lvl1pPr>
              <a:defRPr lang="en-US" sz="1200" b="0" cap="all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105000"/>
              </a:lnSpc>
            </a:pPr>
            <a:r>
              <a:rPr lang="en-US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24144095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>
        <p15:guide id="1" pos="2838">
          <p15:clr>
            <a:srgbClr val="FFFFFF"/>
          </p15:clr>
        </p15:guide>
        <p15:guide id="2" orient="horz" pos="1276">
          <p15:clr>
            <a:srgbClr val="FFFFFF"/>
          </p15:clr>
        </p15:guide>
        <p15:guide id="3" pos="6523">
          <p15:clr>
            <a:srgbClr val="FFFFFF"/>
          </p15:clr>
        </p15:guide>
        <p15:guide id="4" orient="horz" pos="1570">
          <p15:clr>
            <a:srgbClr val="FFFFFF"/>
          </p15:clr>
        </p15:guide>
        <p15:guide id="5" orient="horz" pos="1806">
          <p15:clr>
            <a:srgbClr val="FFFFFF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4 Contents" type="fourObj" preserve="1">
  <p:cSld name="Title 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2" name="Content Placeholder left">
            <a:extLst>
              <a:ext uri="{FF2B5EF4-FFF2-40B4-BE49-F238E27FC236}">
                <a16:creationId xmlns:a16="http://schemas.microsoft.com/office/drawing/2014/main" id="{68997374-0D38-4532-8506-0877E5D1F9A0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6400" y="1369799"/>
            <a:ext cx="2433000" cy="4680163"/>
          </a:xfrm>
        </p:spPr>
        <p:txBody>
          <a:bodyPr/>
          <a:lstStyle>
            <a:lvl1pPr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  <a:defRPr sz="1200" baseline="0"/>
            </a:lvl1pPr>
            <a:lvl2pPr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  <a:defRPr sz="1200" baseline="0"/>
            </a:lvl2pPr>
            <a:lvl3pPr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  <a:defRPr sz="1200" baseline="0"/>
            </a:lvl3pPr>
            <a:lvl4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000" baseline="0"/>
            </a:lvl4pPr>
            <a:lvl5pPr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sz="1000" baseline="0"/>
            </a:lvl5pPr>
            <a:lvl6pPr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  <a:defRPr sz="1200" baseline="0"/>
            </a:lvl6pPr>
            <a:lvl7pPr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sz="1000" baseline="0"/>
            </a:lvl7pPr>
            <a:lvl8pPr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  <a:defRPr sz="1200" baseline="0"/>
            </a:lvl8pPr>
            <a:lvl9pPr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center left">
            <a:extLst>
              <a:ext uri="{FF2B5EF4-FFF2-40B4-BE49-F238E27FC236}">
                <a16:creationId xmlns:a16="http://schemas.microsoft.com/office/drawing/2014/main" id="{40E6EFB6-C485-43AC-8071-33FD8D38BC7D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3194400" y="1369799"/>
            <a:ext cx="2433288" cy="468016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center right">
            <a:extLst>
              <a:ext uri="{FF2B5EF4-FFF2-40B4-BE49-F238E27FC236}">
                <a16:creationId xmlns:a16="http://schemas.microsoft.com/office/drawing/2014/main" id="{F07FD752-F5AE-44F3-9E78-BAE50FECB035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002399" y="1369799"/>
            <a:ext cx="2433575" cy="468016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right">
            <a:extLst>
              <a:ext uri="{FF2B5EF4-FFF2-40B4-BE49-F238E27FC236}">
                <a16:creationId xmlns:a16="http://schemas.microsoft.com/office/drawing/2014/main" id="{11103353-C967-4B83-BF3B-88CA81C96030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8810399" y="1369799"/>
            <a:ext cx="2433863" cy="468016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F6C5AA7-4333-4ADE-B698-06D17EAFF7DF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6DC0EA7D-56F1-4A2B-89B2-9444DEF1AFC8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October 24, 2023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6BC7595-36F8-47CD-9313-F7DD7933BC5A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A92EC2A-38E8-46A0-A721-6659543C2ECF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99396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3811">
          <p15:clr>
            <a:srgbClr val="547EBF"/>
          </p15:clr>
        </p15:guide>
        <p15:guide id="7" orient="horz" pos="3958">
          <p15:clr>
            <a:srgbClr val="547EBF"/>
          </p15:clr>
        </p15:guide>
        <p15:guide id="8" pos="7083">
          <p15:clr>
            <a:srgbClr val="547EBF"/>
          </p15:clr>
        </p15:guide>
        <p15:guide id="9" pos="5550">
          <p15:clr>
            <a:srgbClr val="547EBF"/>
          </p15:clr>
        </p15:guide>
        <p15:guide id="10" pos="5314">
          <p15:clr>
            <a:srgbClr val="547EBF"/>
          </p15:clr>
        </p15:guide>
        <p15:guide id="11" pos="1776">
          <p15:clr>
            <a:srgbClr val="547EBF"/>
          </p15:clr>
        </p15:guide>
        <p15:guide id="12" pos="2012">
          <p15:clr>
            <a:srgbClr val="547EBF"/>
          </p15:clr>
        </p15:guide>
        <p15:guide id="13" pos="3545">
          <p15:clr>
            <a:srgbClr val="547EBF"/>
          </p15:clr>
        </p15:guide>
        <p15:guide id="14" pos="3781">
          <p15:clr>
            <a:srgbClr val="547EBF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Content &#10;with Header" type="txOverObj" preserve="1">
  <p:cSld name="Title Content 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2" name="Text Placeholder">
            <a:extLst>
              <a:ext uri="{FF2B5EF4-FFF2-40B4-BE49-F238E27FC236}">
                <a16:creationId xmlns:a16="http://schemas.microsoft.com/office/drawing/2014/main" id="{1A5B03E1-015A-4D18-B342-9CADF726D90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763" y="1370013"/>
            <a:ext cx="10858500" cy="280988"/>
          </a:xfrm>
        </p:spPr>
        <p:txBody>
          <a:bodyPr vert="horz" lIns="0" tIns="0" rIns="0" bIns="0" rtlCol="0">
            <a:noAutofit/>
          </a:bodyPr>
          <a:lstStyle>
            <a:lvl1pPr>
              <a:defRPr lang="en-US" baseline="0" dirty="0">
                <a:solidFill>
                  <a:schemeClr val="accent1"/>
                </a:solidFill>
              </a:defRPr>
            </a:lvl1pPr>
            <a:lvl2pPr>
              <a:defRPr lang="en-US" baseline="0" dirty="0">
                <a:solidFill>
                  <a:schemeClr val="accent1"/>
                </a:solidFill>
              </a:defRPr>
            </a:lvl2pPr>
            <a:lvl3pPr>
              <a:defRPr lang="en-US" baseline="0" dirty="0">
                <a:solidFill>
                  <a:schemeClr val="accent1"/>
                </a:solidFill>
              </a:defRPr>
            </a:lvl3pPr>
            <a:lvl4pPr>
              <a:defRPr lang="en-US" baseline="0" dirty="0">
                <a:solidFill>
                  <a:schemeClr val="accent1"/>
                </a:solidFill>
              </a:defRPr>
            </a:lvl4pPr>
            <a:lvl5pPr>
              <a:defRPr lang="en-US" baseline="0" dirty="0">
                <a:solidFill>
                  <a:schemeClr val="accent1"/>
                </a:solidFill>
              </a:defRPr>
            </a:lvl5pPr>
            <a:lvl6pPr>
              <a:buAutoNum type="arabicPeriod"/>
              <a:defRPr lang="en-US" baseline="0" dirty="0">
                <a:solidFill>
                  <a:schemeClr val="accent1"/>
                </a:solidFill>
              </a:defRPr>
            </a:lvl6pPr>
            <a:lvl7pPr>
              <a:buAutoNum type="romanLcPeriod"/>
              <a:defRPr lang="en-US" baseline="0" dirty="0">
                <a:solidFill>
                  <a:schemeClr val="accent1"/>
                </a:solidFill>
              </a:defRPr>
            </a:lvl7pPr>
            <a:lvl8pPr>
              <a:defRPr lang="en-US" baseline="0" dirty="0">
                <a:solidFill>
                  <a:schemeClr val="accent1"/>
                </a:solidFill>
              </a:defRPr>
            </a:lvl8pPr>
            <a:lvl9pPr>
              <a:defRPr lang="en-US" baseline="0" dirty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" hidden="1">
            <a:extLst>
              <a:ext uri="{FF2B5EF4-FFF2-40B4-BE49-F238E27FC236}">
                <a16:creationId xmlns:a16="http://schemas.microsoft.com/office/drawing/2014/main" id="{F39CDF36-8584-474A-A340-2CF19A90EF62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5763" y="1838326"/>
            <a:ext cx="10857863" cy="42116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E6F9F72-D473-4FF0-B534-697B037CAB9D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63A683AB-5A04-4495-8F42-C4AB3BB4E0B4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October 24, 2023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9F3986B-5EC8-441C-8101-40A5B761494C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D8A1E49-F2C9-4BC4-B87C-E6B6AD4C5169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2983780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pos="7083">
          <p15:clr>
            <a:srgbClr val="547EBF"/>
          </p15:clr>
        </p15:guide>
        <p15:guide id="4" orient="horz" pos="509">
          <p15:clr>
            <a:srgbClr val="547EBF"/>
          </p15:clr>
        </p15:guide>
        <p15:guide id="5" orient="horz" pos="745">
          <p15:clr>
            <a:srgbClr val="547EBF"/>
          </p15:clr>
        </p15:guide>
        <p15:guide id="6" orient="horz" pos="863">
          <p15:clr>
            <a:srgbClr val="547EBF"/>
          </p15:clr>
        </p15:guide>
        <p15:guide id="7" orient="horz" pos="1040">
          <p15:clr>
            <a:srgbClr val="547EBF"/>
          </p15:clr>
        </p15:guide>
        <p15:guide id="8" orient="horz" pos="1158">
          <p15:clr>
            <a:srgbClr val="547EBF"/>
          </p15:clr>
        </p15:guide>
        <p15:guide id="9" orient="horz" pos="3811">
          <p15:clr>
            <a:srgbClr val="547EBF"/>
          </p15:clr>
        </p15:guide>
        <p15:guide id="10" orient="horz" pos="3958">
          <p15:clr>
            <a:srgbClr val="547EBF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2 Contents &#10;with Headers" type="twoTxTwoObj" preserve="1">
  <p:cSld name="Title 2 Contents with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1" name="Text Placeholder left">
            <a:extLst>
              <a:ext uri="{FF2B5EF4-FFF2-40B4-BE49-F238E27FC236}">
                <a16:creationId xmlns:a16="http://schemas.microsoft.com/office/drawing/2014/main" id="{0CFC4BF5-DB1E-4713-9E98-00F92C026B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763" y="1370013"/>
            <a:ext cx="5242237" cy="280988"/>
          </a:xfrm>
        </p:spPr>
        <p:txBody>
          <a:bodyPr/>
          <a:lstStyle>
            <a:lvl1pPr>
              <a:defRPr b="0" baseline="0">
                <a:solidFill>
                  <a:schemeClr val="accent1"/>
                </a:solidFill>
              </a:defRPr>
            </a:lvl1pPr>
            <a:lvl2pPr>
              <a:defRPr baseline="0">
                <a:solidFill>
                  <a:schemeClr val="accent1"/>
                </a:solidFill>
              </a:defRPr>
            </a:lvl2pPr>
            <a:lvl3pPr>
              <a:defRPr baseline="0">
                <a:solidFill>
                  <a:schemeClr val="accent1"/>
                </a:solidFill>
              </a:defRPr>
            </a:lvl3pPr>
            <a:lvl4pPr>
              <a:defRPr baseline="0">
                <a:solidFill>
                  <a:schemeClr val="accent1"/>
                </a:solidFill>
              </a:defRPr>
            </a:lvl4pPr>
            <a:lvl5pPr>
              <a:defRPr baseline="0"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right">
            <a:extLst>
              <a:ext uri="{FF2B5EF4-FFF2-40B4-BE49-F238E27FC236}">
                <a16:creationId xmlns:a16="http://schemas.microsoft.com/office/drawing/2014/main" id="{2736EA48-A5FD-471F-8C50-CAC9BAAFCCB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02400" y="1369800"/>
            <a:ext cx="5237781" cy="280987"/>
          </a:xfrm>
        </p:spPr>
        <p:txBody>
          <a:bodyPr/>
          <a:lstStyle>
            <a:lvl1pPr>
              <a:defRPr b="0" baseline="0">
                <a:solidFill>
                  <a:schemeClr val="accent1"/>
                </a:solidFill>
              </a:defRPr>
            </a:lvl1pPr>
            <a:lvl2pPr>
              <a:defRPr baseline="0">
                <a:solidFill>
                  <a:schemeClr val="accent1"/>
                </a:solidFill>
              </a:defRPr>
            </a:lvl2pPr>
            <a:lvl3pPr>
              <a:defRPr baseline="0">
                <a:solidFill>
                  <a:schemeClr val="accent1"/>
                </a:solidFill>
              </a:defRPr>
            </a:lvl3pPr>
            <a:lvl4pPr>
              <a:defRPr baseline="0">
                <a:solidFill>
                  <a:schemeClr val="accent1"/>
                </a:solidFill>
              </a:defRPr>
            </a:lvl4pPr>
            <a:lvl5pPr>
              <a:defRPr baseline="0"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left">
            <a:extLst>
              <a:ext uri="{FF2B5EF4-FFF2-40B4-BE49-F238E27FC236}">
                <a16:creationId xmlns:a16="http://schemas.microsoft.com/office/drawing/2014/main" id="{66ADD6CF-E96E-40D4-888D-AEC6A7B689C7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6400" y="1838325"/>
            <a:ext cx="5241288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right">
            <a:extLst>
              <a:ext uri="{FF2B5EF4-FFF2-40B4-BE49-F238E27FC236}">
                <a16:creationId xmlns:a16="http://schemas.microsoft.com/office/drawing/2014/main" id="{E1B13DFC-B01F-469C-B65F-D2F368712314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6002399" y="1838325"/>
            <a:ext cx="5241863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753840-5CF9-42CC-B75A-73C48DC2F7C1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B9BDC80F-B4C1-44FE-ACB2-6206973AA8E2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October 24, 2023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08F75E6-E90D-4A29-855E-060F8C520293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ECCE0EC-DF6D-4A71-AB27-210BB010718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6120891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1040">
          <p15:clr>
            <a:srgbClr val="547EBF"/>
          </p15:clr>
        </p15:guide>
        <p15:guide id="7" orient="horz" pos="1158">
          <p15:clr>
            <a:srgbClr val="547EBF"/>
          </p15:clr>
        </p15:guide>
        <p15:guide id="8" orient="horz" pos="3811">
          <p15:clr>
            <a:srgbClr val="547EBF"/>
          </p15:clr>
        </p15:guide>
        <p15:guide id="9" orient="horz" pos="3958">
          <p15:clr>
            <a:srgbClr val="547EBF"/>
          </p15:clr>
        </p15:guide>
        <p15:guide id="10" pos="3545">
          <p15:clr>
            <a:srgbClr val="547EBF"/>
          </p15:clr>
        </p15:guide>
        <p15:guide id="11" pos="3781">
          <p15:clr>
            <a:srgbClr val="547EBF"/>
          </p15:clr>
        </p15:guide>
        <p15:guide id="12" pos="7083">
          <p15:clr>
            <a:srgbClr val="547EBF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3 Contents &#10;with Headers" preserve="1">
  <p:cSld name="Title 3 Contents with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2" name="Text Placeholder left">
            <a:extLst>
              <a:ext uri="{FF2B5EF4-FFF2-40B4-BE49-F238E27FC236}">
                <a16:creationId xmlns:a16="http://schemas.microsoft.com/office/drawing/2014/main" id="{A8886709-9610-483F-92CC-2A72A3FBEFD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763" y="1370013"/>
            <a:ext cx="3370237" cy="280988"/>
          </a:xfrm>
        </p:spPr>
        <p:txBody>
          <a:bodyPr/>
          <a:lstStyle>
            <a:lvl1pPr>
              <a:defRPr b="0" baseline="0">
                <a:solidFill>
                  <a:schemeClr val="accent1"/>
                </a:solidFill>
              </a:defRPr>
            </a:lvl1pPr>
            <a:lvl2pPr>
              <a:defRPr baseline="0">
                <a:solidFill>
                  <a:schemeClr val="accent1"/>
                </a:solidFill>
              </a:defRPr>
            </a:lvl2pPr>
            <a:lvl3pPr>
              <a:defRPr baseline="0">
                <a:solidFill>
                  <a:schemeClr val="accent1"/>
                </a:solidFill>
              </a:defRPr>
            </a:lvl3pPr>
            <a:lvl4pPr>
              <a:defRPr baseline="0">
                <a:solidFill>
                  <a:schemeClr val="accent1"/>
                </a:solidFill>
              </a:defRPr>
            </a:lvl4pPr>
            <a:lvl5pPr>
              <a:defRPr baseline="0"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center">
            <a:extLst>
              <a:ext uri="{FF2B5EF4-FFF2-40B4-BE49-F238E27FC236}">
                <a16:creationId xmlns:a16="http://schemas.microsoft.com/office/drawing/2014/main" id="{C5D6C4C1-1748-4F13-BF71-CB0B1D588BA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30400" y="1370013"/>
            <a:ext cx="3367372" cy="280987"/>
          </a:xfrm>
        </p:spPr>
        <p:txBody>
          <a:bodyPr/>
          <a:lstStyle>
            <a:lvl1pPr>
              <a:defRPr b="0" baseline="0">
                <a:solidFill>
                  <a:schemeClr val="accent1"/>
                </a:solidFill>
              </a:defRPr>
            </a:lvl1pPr>
            <a:lvl2pPr>
              <a:defRPr baseline="0">
                <a:solidFill>
                  <a:schemeClr val="accent1"/>
                </a:solidFill>
              </a:defRPr>
            </a:lvl2pPr>
            <a:lvl3pPr>
              <a:defRPr baseline="0">
                <a:solidFill>
                  <a:schemeClr val="accent1"/>
                </a:solidFill>
              </a:defRPr>
            </a:lvl3pPr>
            <a:lvl4pPr>
              <a:defRPr baseline="0">
                <a:solidFill>
                  <a:schemeClr val="accent1"/>
                </a:solidFill>
              </a:defRPr>
            </a:lvl4pPr>
            <a:lvl5pPr>
              <a:defRPr baseline="0"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right">
            <a:extLst>
              <a:ext uri="{FF2B5EF4-FFF2-40B4-BE49-F238E27FC236}">
                <a16:creationId xmlns:a16="http://schemas.microsoft.com/office/drawing/2014/main" id="{137B864B-E3EF-48FF-9B48-5900C6762F5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876628" y="1370013"/>
            <a:ext cx="3367372" cy="280987"/>
          </a:xfrm>
        </p:spPr>
        <p:txBody>
          <a:bodyPr/>
          <a:lstStyle>
            <a:lvl1pPr>
              <a:defRPr b="0" baseline="0">
                <a:solidFill>
                  <a:schemeClr val="accent1"/>
                </a:solidFill>
              </a:defRPr>
            </a:lvl1pPr>
            <a:lvl2pPr>
              <a:defRPr baseline="0">
                <a:solidFill>
                  <a:schemeClr val="accent1"/>
                </a:solidFill>
              </a:defRPr>
            </a:lvl2pPr>
            <a:lvl3pPr>
              <a:defRPr baseline="0">
                <a:solidFill>
                  <a:schemeClr val="accent1"/>
                </a:solidFill>
              </a:defRPr>
            </a:lvl3pPr>
            <a:lvl4pPr>
              <a:defRPr baseline="0">
                <a:solidFill>
                  <a:schemeClr val="accent1"/>
                </a:solidFill>
              </a:defRPr>
            </a:lvl4pPr>
            <a:lvl5pPr>
              <a:defRPr baseline="0"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Content Placeholder left">
            <a:extLst>
              <a:ext uri="{FF2B5EF4-FFF2-40B4-BE49-F238E27FC236}">
                <a16:creationId xmlns:a16="http://schemas.microsoft.com/office/drawing/2014/main" id="{80B9EEE4-A50E-45E6-90B7-A6DF93D7D7EF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6399" y="1838325"/>
            <a:ext cx="3369625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center">
            <a:extLst>
              <a:ext uri="{FF2B5EF4-FFF2-40B4-BE49-F238E27FC236}">
                <a16:creationId xmlns:a16="http://schemas.microsoft.com/office/drawing/2014/main" id="{6198751F-5038-4C04-BB4F-3E8723C1B29B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4130400" y="1838325"/>
            <a:ext cx="3368950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Content Placeholder right">
            <a:extLst>
              <a:ext uri="{FF2B5EF4-FFF2-40B4-BE49-F238E27FC236}">
                <a16:creationId xmlns:a16="http://schemas.microsoft.com/office/drawing/2014/main" id="{491A289C-2085-4668-9581-ADDF1084BBEE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7874399" y="1838325"/>
            <a:ext cx="3369863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6572EF5-53AC-4B89-8142-90BB2ABE7316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845B5099-DAA5-4374-A8EF-055ECA9C9DD1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October 24, 2023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BFEE9EC-14C8-490D-AD5C-42C125A1E4EE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057346F-2946-4C35-8684-4782DA545403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2455371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pos="7083">
          <p15:clr>
            <a:srgbClr val="547EBF"/>
          </p15:clr>
        </p15:guide>
        <p15:guide id="4" orient="horz" pos="509">
          <p15:clr>
            <a:srgbClr val="547EBF"/>
          </p15:clr>
        </p15:guide>
        <p15:guide id="5" orient="horz" pos="745">
          <p15:clr>
            <a:srgbClr val="547EBF"/>
          </p15:clr>
        </p15:guide>
        <p15:guide id="6" orient="horz" pos="863">
          <p15:clr>
            <a:srgbClr val="547EBF"/>
          </p15:clr>
        </p15:guide>
        <p15:guide id="7" orient="horz" pos="1040">
          <p15:clr>
            <a:srgbClr val="547EBF"/>
          </p15:clr>
        </p15:guide>
        <p15:guide id="8" orient="horz" pos="1158">
          <p15:clr>
            <a:srgbClr val="547EBF"/>
          </p15:clr>
        </p15:guide>
        <p15:guide id="9" orient="horz" pos="3811">
          <p15:clr>
            <a:srgbClr val="547EBF"/>
          </p15:clr>
        </p15:guide>
        <p15:guide id="10" orient="horz" pos="3958">
          <p15:clr>
            <a:srgbClr val="547EBF"/>
          </p15:clr>
        </p15:guide>
        <p15:guide id="11" pos="2366">
          <p15:clr>
            <a:srgbClr val="547EBF"/>
          </p15:clr>
        </p15:guide>
        <p15:guide id="12" pos="2602">
          <p15:clr>
            <a:srgbClr val="547EBF"/>
          </p15:clr>
        </p15:guide>
        <p15:guide id="13" pos="4724">
          <p15:clr>
            <a:srgbClr val="547EBF"/>
          </p15:clr>
        </p15:guide>
        <p15:guide id="14" pos="4960">
          <p15:clr>
            <a:srgbClr val="547EBF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4 Contents &#10;with Headers" preserve="1">
  <p:cSld name="Title 4 Contents with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3" name="Text Placeholder left">
            <a:extLst>
              <a:ext uri="{FF2B5EF4-FFF2-40B4-BE49-F238E27FC236}">
                <a16:creationId xmlns:a16="http://schemas.microsoft.com/office/drawing/2014/main" id="{F3C161C3-640E-41D6-A44F-B3AC303481B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763" y="1370013"/>
            <a:ext cx="2434237" cy="28098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b="0" dirty="0">
                <a:solidFill>
                  <a:schemeClr val="accent1"/>
                </a:solidFill>
              </a:defRPr>
            </a:lvl1pPr>
            <a:lvl2pPr>
              <a:defRPr lang="en-US" sz="1200" dirty="0">
                <a:solidFill>
                  <a:schemeClr val="accent1"/>
                </a:solidFill>
              </a:defRPr>
            </a:lvl2pPr>
            <a:lvl3pPr>
              <a:defRPr lang="en-US" sz="1200" dirty="0">
                <a:solidFill>
                  <a:schemeClr val="accent1"/>
                </a:solidFill>
              </a:defRPr>
            </a:lvl3pPr>
            <a:lvl4pPr>
              <a:defRPr lang="en-US" sz="1000" dirty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  <a:lvl6pPr>
              <a:defRPr lang="en-US" sz="1200" dirty="0">
                <a:solidFill>
                  <a:schemeClr val="accent1"/>
                </a:solidFill>
              </a:defRPr>
            </a:lvl6pPr>
            <a:lvl7pPr>
              <a:defRPr lang="en-US" sz="1000" dirty="0">
                <a:solidFill>
                  <a:schemeClr val="accent1"/>
                </a:solidFill>
              </a:defRPr>
            </a:lvl7pPr>
            <a:lvl8pPr>
              <a:defRPr lang="en-US" dirty="0">
                <a:solidFill>
                  <a:schemeClr val="accent1"/>
                </a:solidFill>
              </a:defRPr>
            </a:lvl8pPr>
            <a:lvl9pPr>
              <a:defRPr lang="en-US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14" name="Text Placeholder center left">
            <a:extLst>
              <a:ext uri="{FF2B5EF4-FFF2-40B4-BE49-F238E27FC236}">
                <a16:creationId xmlns:a16="http://schemas.microsoft.com/office/drawing/2014/main" id="{BF155FED-E878-4F82-91CB-EEB6A0EAACD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194400" y="1369801"/>
            <a:ext cx="2432168" cy="2812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b="0" dirty="0">
                <a:solidFill>
                  <a:schemeClr val="accent1"/>
                </a:solidFill>
              </a:defRPr>
            </a:lvl1pPr>
            <a:lvl2pPr>
              <a:defRPr lang="en-US" sz="1200" dirty="0">
                <a:solidFill>
                  <a:schemeClr val="accent1"/>
                </a:solidFill>
              </a:defRPr>
            </a:lvl2pPr>
            <a:lvl3pPr>
              <a:defRPr lang="en-US" sz="1200" dirty="0">
                <a:solidFill>
                  <a:schemeClr val="accent1"/>
                </a:solidFill>
              </a:defRPr>
            </a:lvl3pPr>
            <a:lvl4pPr>
              <a:defRPr lang="en-US" sz="1000" dirty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  <a:lvl6pPr>
              <a:defRPr lang="en-US" sz="1200" dirty="0">
                <a:solidFill>
                  <a:schemeClr val="accent1"/>
                </a:solidFill>
              </a:defRPr>
            </a:lvl6pPr>
            <a:lvl7pPr>
              <a:defRPr lang="en-US" sz="1000" dirty="0">
                <a:solidFill>
                  <a:schemeClr val="accent1"/>
                </a:solidFill>
              </a:defRPr>
            </a:lvl7pPr>
            <a:lvl8pPr>
              <a:defRPr lang="en-US" dirty="0">
                <a:solidFill>
                  <a:schemeClr val="accent1"/>
                </a:solidFill>
              </a:defRPr>
            </a:lvl8pPr>
            <a:lvl9pPr>
              <a:defRPr lang="en-US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15" name="Text Placeholder center right">
            <a:extLst>
              <a:ext uri="{FF2B5EF4-FFF2-40B4-BE49-F238E27FC236}">
                <a16:creationId xmlns:a16="http://schemas.microsoft.com/office/drawing/2014/main" id="{2D1F3CDA-96EB-4C1B-8688-55D69CCE435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02400" y="1370013"/>
            <a:ext cx="2432168" cy="2809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b="0" dirty="0">
                <a:solidFill>
                  <a:schemeClr val="accent1"/>
                </a:solidFill>
              </a:defRPr>
            </a:lvl1pPr>
            <a:lvl2pPr>
              <a:defRPr lang="en-US" sz="1200" dirty="0">
                <a:solidFill>
                  <a:schemeClr val="accent1"/>
                </a:solidFill>
              </a:defRPr>
            </a:lvl2pPr>
            <a:lvl3pPr>
              <a:defRPr lang="en-US" sz="1200" dirty="0">
                <a:solidFill>
                  <a:schemeClr val="accent1"/>
                </a:solidFill>
              </a:defRPr>
            </a:lvl3pPr>
            <a:lvl4pPr>
              <a:defRPr lang="en-US" sz="1000" dirty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  <a:lvl6pPr>
              <a:defRPr lang="en-US" sz="1200" dirty="0">
                <a:solidFill>
                  <a:schemeClr val="accent1"/>
                </a:solidFill>
              </a:defRPr>
            </a:lvl6pPr>
            <a:lvl7pPr>
              <a:defRPr lang="en-US" sz="1000" dirty="0">
                <a:solidFill>
                  <a:schemeClr val="accent1"/>
                </a:solidFill>
              </a:defRPr>
            </a:lvl7pPr>
            <a:lvl8pPr>
              <a:defRPr lang="en-US" dirty="0">
                <a:solidFill>
                  <a:schemeClr val="accent1"/>
                </a:solidFill>
              </a:defRPr>
            </a:lvl8pPr>
            <a:lvl9pPr>
              <a:defRPr lang="en-US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16" name="Text Placeholder right">
            <a:extLst>
              <a:ext uri="{FF2B5EF4-FFF2-40B4-BE49-F238E27FC236}">
                <a16:creationId xmlns:a16="http://schemas.microsoft.com/office/drawing/2014/main" id="{8857AEC9-5CA3-4A1E-B979-308C2CAC471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810208" y="1370013"/>
            <a:ext cx="2433792" cy="2809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b="0" dirty="0">
                <a:solidFill>
                  <a:schemeClr val="accent1"/>
                </a:solidFill>
              </a:defRPr>
            </a:lvl1pPr>
            <a:lvl2pPr>
              <a:defRPr lang="en-US" sz="1200" dirty="0">
                <a:solidFill>
                  <a:schemeClr val="accent1"/>
                </a:solidFill>
              </a:defRPr>
            </a:lvl2pPr>
            <a:lvl3pPr>
              <a:defRPr lang="en-US" sz="1200" dirty="0">
                <a:solidFill>
                  <a:schemeClr val="accent1"/>
                </a:solidFill>
              </a:defRPr>
            </a:lvl3pPr>
            <a:lvl4pPr>
              <a:defRPr lang="en-US" sz="1000" dirty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  <a:lvl6pPr>
              <a:defRPr lang="en-US" sz="1200" dirty="0">
                <a:solidFill>
                  <a:schemeClr val="accent1"/>
                </a:solidFill>
              </a:defRPr>
            </a:lvl6pPr>
            <a:lvl7pPr>
              <a:defRPr lang="en-US" sz="1000" dirty="0">
                <a:solidFill>
                  <a:schemeClr val="accent1"/>
                </a:solidFill>
              </a:defRPr>
            </a:lvl7pPr>
            <a:lvl8pPr>
              <a:defRPr lang="en-US" dirty="0">
                <a:solidFill>
                  <a:schemeClr val="accent1"/>
                </a:solidFill>
              </a:defRPr>
            </a:lvl8pPr>
            <a:lvl9pPr>
              <a:defRPr lang="en-US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25" name="Content Placeholder left">
            <a:extLst>
              <a:ext uri="{FF2B5EF4-FFF2-40B4-BE49-F238E27FC236}">
                <a16:creationId xmlns:a16="http://schemas.microsoft.com/office/drawing/2014/main" id="{F3658C72-050E-49A9-8A13-07B94D5B9E7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6400" y="1838325"/>
            <a:ext cx="2433000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26" name="Content Placeholder center left">
            <a:extLst>
              <a:ext uri="{FF2B5EF4-FFF2-40B4-BE49-F238E27FC236}">
                <a16:creationId xmlns:a16="http://schemas.microsoft.com/office/drawing/2014/main" id="{1A0351BE-E79F-40A3-8577-E328D3958891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3194400" y="1838325"/>
            <a:ext cx="2433288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27" name="Content Placeholder center right">
            <a:extLst>
              <a:ext uri="{FF2B5EF4-FFF2-40B4-BE49-F238E27FC236}">
                <a16:creationId xmlns:a16="http://schemas.microsoft.com/office/drawing/2014/main" id="{B5182934-6831-4FDC-A7C4-AD9D38150805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002399" y="1838325"/>
            <a:ext cx="2433575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28" name="Content Placeholder right">
            <a:extLst>
              <a:ext uri="{FF2B5EF4-FFF2-40B4-BE49-F238E27FC236}">
                <a16:creationId xmlns:a16="http://schemas.microsoft.com/office/drawing/2014/main" id="{C472BB61-B63B-4095-8DC2-455C10AA39CF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8810399" y="1838325"/>
            <a:ext cx="2433863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0D54E39-7624-462F-9F80-7DB617C0C73A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8CEDC305-A4E2-47D6-8428-DF835B4BE358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October 24, 2023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D42CD21-E3A6-48AE-89E1-78DE4A6A013B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38E3CC0-4E20-44A9-BE78-32651EB3DB80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9842083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pos="7083">
          <p15:clr>
            <a:srgbClr val="547EBF"/>
          </p15:clr>
        </p15:guide>
        <p15:guide id="4" orient="horz" pos="509">
          <p15:clr>
            <a:srgbClr val="547EBF"/>
          </p15:clr>
        </p15:guide>
        <p15:guide id="5" orient="horz" pos="745">
          <p15:clr>
            <a:srgbClr val="547EBF"/>
          </p15:clr>
        </p15:guide>
        <p15:guide id="6" orient="horz" pos="863">
          <p15:clr>
            <a:srgbClr val="547EBF"/>
          </p15:clr>
        </p15:guide>
        <p15:guide id="7" orient="horz" pos="1040">
          <p15:clr>
            <a:srgbClr val="547EBF"/>
          </p15:clr>
        </p15:guide>
        <p15:guide id="8" orient="horz" pos="1158">
          <p15:clr>
            <a:srgbClr val="547EBF"/>
          </p15:clr>
        </p15:guide>
        <p15:guide id="9" orient="horz" pos="3811">
          <p15:clr>
            <a:srgbClr val="547EBF"/>
          </p15:clr>
        </p15:guide>
        <p15:guide id="10" orient="horz" pos="3958">
          <p15:clr>
            <a:srgbClr val="547EBF"/>
          </p15:clr>
        </p15:guide>
        <p15:guide id="11" pos="1776">
          <p15:clr>
            <a:srgbClr val="547EBF"/>
          </p15:clr>
        </p15:guide>
        <p15:guide id="12" pos="2012">
          <p15:clr>
            <a:srgbClr val="547EBF"/>
          </p15:clr>
        </p15:guide>
        <p15:guide id="13" pos="3545">
          <p15:clr>
            <a:srgbClr val="547EBF"/>
          </p15:clr>
        </p15:guide>
        <p15:guide id="14" pos="3781">
          <p15:clr>
            <a:srgbClr val="547EBF"/>
          </p15:clr>
        </p15:guide>
        <p15:guide id="15" pos="5314">
          <p15:clr>
            <a:srgbClr val="547EBF"/>
          </p15:clr>
        </p15:guide>
        <p15:guide id="16" pos="5550">
          <p15:clr>
            <a:srgbClr val="547EBF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Content &#10;with Intro" type="txAndObj" preserve="1">
  <p:cSld name="Title Content with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3" name="Text Placeholder">
            <a:extLst>
              <a:ext uri="{FF2B5EF4-FFF2-40B4-BE49-F238E27FC236}">
                <a16:creationId xmlns:a16="http://schemas.microsoft.com/office/drawing/2014/main" id="{72A2FDCE-6151-4692-9789-AB95CA61E4F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763" y="1370013"/>
            <a:ext cx="10858500" cy="749300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  <a:lvl2pPr>
              <a:defRPr baseline="0">
                <a:solidFill>
                  <a:schemeClr val="accent1"/>
                </a:solidFill>
              </a:defRPr>
            </a:lvl2pPr>
            <a:lvl3pPr>
              <a:defRPr baseline="0">
                <a:solidFill>
                  <a:schemeClr val="accent1"/>
                </a:solidFill>
              </a:defRPr>
            </a:lvl3pPr>
            <a:lvl4pPr>
              <a:defRPr baseline="0">
                <a:solidFill>
                  <a:schemeClr val="accent1"/>
                </a:solidFill>
              </a:defRPr>
            </a:lvl4pPr>
            <a:lvl5pPr>
              <a:defRPr baseline="0">
                <a:solidFill>
                  <a:schemeClr val="accent1"/>
                </a:solidFill>
              </a:defRPr>
            </a:lvl5pPr>
            <a:lvl6pPr>
              <a:defRPr baseline="0">
                <a:solidFill>
                  <a:schemeClr val="accent1"/>
                </a:solidFill>
              </a:defRPr>
            </a:lvl6pPr>
            <a:lvl7pPr>
              <a:defRPr baseline="0">
                <a:solidFill>
                  <a:schemeClr val="accent1"/>
                </a:solidFill>
              </a:defRPr>
            </a:lvl7pPr>
            <a:lvl8pPr>
              <a:defRPr baseline="0">
                <a:solidFill>
                  <a:schemeClr val="accent1"/>
                </a:solidFill>
              </a:defRPr>
            </a:lvl8pPr>
            <a:lvl9pPr>
              <a:defRPr baseline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Content Placeholder">
            <a:extLst>
              <a:ext uri="{FF2B5EF4-FFF2-40B4-BE49-F238E27FC236}">
                <a16:creationId xmlns:a16="http://schemas.microsoft.com/office/drawing/2014/main" id="{BC68B6CC-90B0-4EEA-B714-6E3AFC295DBF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6400" y="2305800"/>
            <a:ext cx="10857863" cy="3744163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572956B-2CDE-4E6E-830A-3B27344C8F46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73C4E7FB-5B91-46E6-A46C-5488EE2B85C2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October 24, 2023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D756FD2-4F39-4021-9903-850FB63FD853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E7ECBC2-1186-4738-BA8D-47F51F71F4A8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2418454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pos="7083">
          <p15:clr>
            <a:srgbClr val="547EBF"/>
          </p15:clr>
        </p15:guide>
        <p15:guide id="4" orient="horz" pos="509">
          <p15:clr>
            <a:srgbClr val="547EBF"/>
          </p15:clr>
        </p15:guide>
        <p15:guide id="5" orient="horz" pos="745">
          <p15:clr>
            <a:srgbClr val="547EBF"/>
          </p15:clr>
        </p15:guide>
        <p15:guide id="6" orient="horz" pos="863">
          <p15:clr>
            <a:srgbClr val="547EBF"/>
          </p15:clr>
        </p15:guide>
        <p15:guide id="7" orient="horz" pos="1335">
          <p15:clr>
            <a:srgbClr val="547EBF"/>
          </p15:clr>
        </p15:guide>
        <p15:guide id="8" orient="horz" pos="1452">
          <p15:clr>
            <a:srgbClr val="547EBF"/>
          </p15:clr>
        </p15:guide>
        <p15:guide id="9" orient="horz" pos="3811">
          <p15:clr>
            <a:srgbClr val="547EBF"/>
          </p15:clr>
        </p15:guide>
        <p15:guide id="11" orient="horz" pos="3958">
          <p15:clr>
            <a:srgbClr val="547EBF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2 Contents &#10;with Intro" type="twoColTx" preserve="1">
  <p:cSld name="Titöe 2 Contents with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1" name="Text Placeholder left">
            <a:extLst>
              <a:ext uri="{FF2B5EF4-FFF2-40B4-BE49-F238E27FC236}">
                <a16:creationId xmlns:a16="http://schemas.microsoft.com/office/drawing/2014/main" id="{0CFC4BF5-DB1E-4713-9E98-00F92C026B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763" y="1370012"/>
            <a:ext cx="5242237" cy="74880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baseline="0" dirty="0">
                <a:solidFill>
                  <a:schemeClr val="accent1"/>
                </a:solidFill>
              </a:defRPr>
            </a:lvl1pPr>
            <a:lvl2pPr>
              <a:defRPr lang="en-US" sz="1600" baseline="0" dirty="0">
                <a:solidFill>
                  <a:schemeClr val="accent1"/>
                </a:solidFill>
              </a:defRPr>
            </a:lvl2pPr>
            <a:lvl3pPr>
              <a:defRPr lang="en-US" sz="1600" baseline="0" dirty="0">
                <a:solidFill>
                  <a:schemeClr val="accent1"/>
                </a:solidFill>
              </a:defRPr>
            </a:lvl3pPr>
            <a:lvl4pPr>
              <a:defRPr lang="en-US" baseline="0" dirty="0">
                <a:solidFill>
                  <a:schemeClr val="accent1"/>
                </a:solidFill>
              </a:defRPr>
            </a:lvl4pPr>
            <a:lvl5pPr>
              <a:defRPr lang="en-US" baseline="0" dirty="0">
                <a:solidFill>
                  <a:schemeClr val="accent1"/>
                </a:solidFill>
              </a:defRPr>
            </a:lvl5pPr>
            <a:lvl6pPr>
              <a:defRPr baseline="0">
                <a:solidFill>
                  <a:schemeClr val="accent1"/>
                </a:solidFill>
              </a:defRPr>
            </a:lvl6pPr>
            <a:lvl7pPr>
              <a:defRPr baseline="0">
                <a:solidFill>
                  <a:schemeClr val="accent1"/>
                </a:solidFill>
              </a:defRPr>
            </a:lvl7pPr>
            <a:lvl8pPr>
              <a:defRPr baseline="0">
                <a:solidFill>
                  <a:schemeClr val="accent1"/>
                </a:solidFill>
              </a:defRPr>
            </a:lvl8pPr>
            <a:lvl9pPr>
              <a:defRPr baseline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right">
            <a:extLst>
              <a:ext uri="{FF2B5EF4-FFF2-40B4-BE49-F238E27FC236}">
                <a16:creationId xmlns:a16="http://schemas.microsoft.com/office/drawing/2014/main" id="{2736EA48-A5FD-471F-8C50-CAC9BAAFCCB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02400" y="1369800"/>
            <a:ext cx="5237781" cy="748800"/>
          </a:xfrm>
        </p:spPr>
        <p:txBody>
          <a:bodyPr vert="horz" lIns="0" tIns="0" rIns="0" bIns="0" rtlCol="0">
            <a:noAutofit/>
          </a:bodyPr>
          <a:lstStyle>
            <a:lvl1pPr>
              <a:defRPr lang="en-US" baseline="0" dirty="0">
                <a:solidFill>
                  <a:schemeClr val="accent1"/>
                </a:solidFill>
              </a:defRPr>
            </a:lvl1pPr>
            <a:lvl2pPr>
              <a:defRPr baseline="0">
                <a:solidFill>
                  <a:schemeClr val="accent1"/>
                </a:solidFill>
              </a:defRPr>
            </a:lvl2pPr>
            <a:lvl3pPr>
              <a:defRPr baseline="0">
                <a:solidFill>
                  <a:schemeClr val="accent1"/>
                </a:solidFill>
              </a:defRPr>
            </a:lvl3pPr>
            <a:lvl4pPr>
              <a:defRPr baseline="0">
                <a:solidFill>
                  <a:schemeClr val="accent1"/>
                </a:solidFill>
              </a:defRPr>
            </a:lvl4pPr>
            <a:lvl5pPr>
              <a:defRPr baseline="0">
                <a:solidFill>
                  <a:schemeClr val="accent1"/>
                </a:solidFill>
              </a:defRPr>
            </a:lvl5pPr>
            <a:lvl6pPr>
              <a:defRPr baseline="0">
                <a:solidFill>
                  <a:schemeClr val="accent1"/>
                </a:solidFill>
              </a:defRPr>
            </a:lvl6pPr>
            <a:lvl7pPr>
              <a:defRPr baseline="0">
                <a:solidFill>
                  <a:schemeClr val="accent1"/>
                </a:solidFill>
              </a:defRPr>
            </a:lvl7pPr>
            <a:lvl8pPr>
              <a:defRPr baseline="0">
                <a:solidFill>
                  <a:schemeClr val="accent1"/>
                </a:solidFill>
              </a:defRPr>
            </a:lvl8pPr>
            <a:lvl9pPr>
              <a:defRPr baseline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Content Placeholder left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86400" y="2305800"/>
            <a:ext cx="5241600" cy="3743949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right">
            <a:extLst>
              <a:ext uri="{FF2B5EF4-FFF2-40B4-BE49-F238E27FC236}">
                <a16:creationId xmlns:a16="http://schemas.microsoft.com/office/drawing/2014/main" id="{EC6E7A83-9797-4BE9-93CC-79CCAEF0A0E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02400" y="2305800"/>
            <a:ext cx="5241862" cy="3743949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E3ACEDA-14D2-4D60-ACDB-D5109573C7DA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3CA84888-AC81-4564-B0ED-A3AB5BF805AC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October 24, 2023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B44124A-5903-474D-B425-7EC03B538F4D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29A5D1A-8FC2-4425-8085-692FBEA23661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2683731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545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1335">
          <p15:clr>
            <a:srgbClr val="547EBF"/>
          </p15:clr>
        </p15:guide>
        <p15:guide id="7" orient="horz" pos="1452">
          <p15:clr>
            <a:srgbClr val="547EBF"/>
          </p15:clr>
        </p15:guide>
        <p15:guide id="8" orient="horz" pos="3811">
          <p15:clr>
            <a:srgbClr val="547EBF"/>
          </p15:clr>
        </p15:guide>
        <p15:guide id="9" orient="horz" pos="3958">
          <p15:clr>
            <a:srgbClr val="547EBF"/>
          </p15:clr>
        </p15:guide>
        <p15:guide id="10" pos="3781">
          <p15:clr>
            <a:srgbClr val="547EBF"/>
          </p15:clr>
        </p15:guide>
        <p15:guide id="11" pos="7083">
          <p15:clr>
            <a:srgbClr val="547EBF"/>
          </p15:clr>
        </p15:guide>
        <p15:guide id="12" pos="243">
          <p15:clr>
            <a:srgbClr val="547EBF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3 Contents &#10;with Intro" preserve="1">
  <p:cSld name="Title 3 Contents with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2" name="Text Placeholder left">
            <a:extLst>
              <a:ext uri="{FF2B5EF4-FFF2-40B4-BE49-F238E27FC236}">
                <a16:creationId xmlns:a16="http://schemas.microsoft.com/office/drawing/2014/main" id="{A8886709-9610-483F-92CC-2A72A3FBEFD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763" y="1370013"/>
            <a:ext cx="3370237" cy="748590"/>
          </a:xfrm>
        </p:spPr>
        <p:txBody>
          <a:bodyPr vert="horz" lIns="0" tIns="0" rIns="0" bIns="0" rtlCol="0">
            <a:noAutofit/>
          </a:bodyPr>
          <a:lstStyle>
            <a:lvl1pPr>
              <a:defRPr lang="en-US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center">
            <a:extLst>
              <a:ext uri="{FF2B5EF4-FFF2-40B4-BE49-F238E27FC236}">
                <a16:creationId xmlns:a16="http://schemas.microsoft.com/office/drawing/2014/main" id="{C5D6C4C1-1748-4F13-BF71-CB0B1D588BA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30400" y="1370013"/>
            <a:ext cx="3367372" cy="748587"/>
          </a:xfrm>
        </p:spPr>
        <p:txBody>
          <a:bodyPr vert="horz" lIns="0" tIns="0" rIns="0" bIns="0" rtlCol="0">
            <a:noAutofit/>
          </a:bodyPr>
          <a:lstStyle>
            <a:lvl1pPr>
              <a:defRPr lang="en-US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right">
            <a:extLst>
              <a:ext uri="{FF2B5EF4-FFF2-40B4-BE49-F238E27FC236}">
                <a16:creationId xmlns:a16="http://schemas.microsoft.com/office/drawing/2014/main" id="{137B864B-E3EF-48FF-9B48-5900C6762F5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876628" y="1370013"/>
            <a:ext cx="3367372" cy="748587"/>
          </a:xfrm>
        </p:spPr>
        <p:txBody>
          <a:bodyPr vert="horz" lIns="0" tIns="0" rIns="0" bIns="0" rtlCol="0">
            <a:noAutofit/>
          </a:bodyPr>
          <a:lstStyle>
            <a:lvl1pPr>
              <a:defRPr lang="en-US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Content Placeholder left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86400" y="2306013"/>
            <a:ext cx="3369600" cy="3743949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center">
            <a:extLst>
              <a:ext uri="{FF2B5EF4-FFF2-40B4-BE49-F238E27FC236}">
                <a16:creationId xmlns:a16="http://schemas.microsoft.com/office/drawing/2014/main" id="{EC6E7A83-9797-4BE9-93CC-79CCAEF0A0E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130400" y="2305800"/>
            <a:ext cx="3369600" cy="3743949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3" name="Content Placeholder right">
            <a:extLst>
              <a:ext uri="{FF2B5EF4-FFF2-40B4-BE49-F238E27FC236}">
                <a16:creationId xmlns:a16="http://schemas.microsoft.com/office/drawing/2014/main" id="{050396BA-273E-425D-AD91-83515A91269F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7874399" y="2305800"/>
            <a:ext cx="3369863" cy="3743949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3403440-F3EA-48E6-B8F0-E8964D08C2A6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58311C3C-C296-4B23-8529-7B5E85E25800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October 24, 2023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6573ED-A8D1-44BE-89E8-BDC17846C043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1022E9E-7F31-4169-926F-181B429842BE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9650454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602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1335">
          <p15:clr>
            <a:srgbClr val="547EBF"/>
          </p15:clr>
        </p15:guide>
        <p15:guide id="7" orient="horz" pos="1452">
          <p15:clr>
            <a:srgbClr val="547EBF"/>
          </p15:clr>
        </p15:guide>
        <p15:guide id="8" orient="horz" pos="3811">
          <p15:clr>
            <a:srgbClr val="547EBF"/>
          </p15:clr>
        </p15:guide>
        <p15:guide id="9" orient="horz" pos="3958">
          <p15:clr>
            <a:srgbClr val="547EBF"/>
          </p15:clr>
        </p15:guide>
        <p15:guide id="10" pos="243">
          <p15:clr>
            <a:srgbClr val="547EBF"/>
          </p15:clr>
        </p15:guide>
        <p15:guide id="11" pos="2366">
          <p15:clr>
            <a:srgbClr val="547EBF"/>
          </p15:clr>
        </p15:guide>
        <p15:guide id="12" pos="4724">
          <p15:clr>
            <a:srgbClr val="547EBF"/>
          </p15:clr>
        </p15:guide>
        <p15:guide id="13" pos="4960">
          <p15:clr>
            <a:srgbClr val="547EBF"/>
          </p15:clr>
        </p15:guide>
        <p15:guide id="14" pos="7083">
          <p15:clr>
            <a:srgbClr val="547EBF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4 Contents &#10;with Intro" preserve="1">
  <p:cSld name="Title 4 Contents with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left">
            <a:extLst>
              <a:ext uri="{FF2B5EF4-FFF2-40B4-BE49-F238E27FC236}">
                <a16:creationId xmlns:a16="http://schemas.microsoft.com/office/drawing/2014/main" id="{5FA9E211-8E39-47DD-A16C-2F9499BC7F1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763" y="1370012"/>
            <a:ext cx="2434237" cy="701675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>
                <a:solidFill>
                  <a:schemeClr val="accent1"/>
                </a:solidFill>
              </a:defRPr>
            </a:lvl1pPr>
            <a:lvl2pPr>
              <a:defRPr lang="en-US" sz="1200" dirty="0">
                <a:solidFill>
                  <a:schemeClr val="accent1"/>
                </a:solidFill>
              </a:defRPr>
            </a:lvl2pPr>
            <a:lvl3pPr>
              <a:defRPr lang="en-US" sz="1200" dirty="0">
                <a:solidFill>
                  <a:schemeClr val="accent1"/>
                </a:solidFill>
              </a:defRPr>
            </a:lvl3pPr>
            <a:lvl4pPr>
              <a:defRPr lang="en-US" sz="1000" dirty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  <a:lvl6pPr>
              <a:defRPr lang="en-US" sz="1200" dirty="0">
                <a:solidFill>
                  <a:schemeClr val="accent1"/>
                </a:solidFill>
              </a:defRPr>
            </a:lvl6pPr>
            <a:lvl7pPr>
              <a:defRPr lang="en-US" sz="1000" dirty="0">
                <a:solidFill>
                  <a:schemeClr val="accent1"/>
                </a:solidFill>
              </a:defRPr>
            </a:lvl7pPr>
            <a:lvl8pPr>
              <a:defRPr lang="en-US" dirty="0">
                <a:solidFill>
                  <a:schemeClr val="accent1"/>
                </a:solidFill>
              </a:defRPr>
            </a:lvl8pPr>
            <a:lvl9pPr>
              <a:defRPr lang="en-US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</p:txBody>
      </p:sp>
      <p:sp>
        <p:nvSpPr>
          <p:cNvPr id="18" name="Text Placeholder center left">
            <a:extLst>
              <a:ext uri="{FF2B5EF4-FFF2-40B4-BE49-F238E27FC236}">
                <a16:creationId xmlns:a16="http://schemas.microsoft.com/office/drawing/2014/main" id="{2A19C958-E7D0-44A4-B38C-60844D9F667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194400" y="1369800"/>
            <a:ext cx="2432168" cy="7018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>
                <a:solidFill>
                  <a:schemeClr val="accent1"/>
                </a:solidFill>
              </a:defRPr>
            </a:lvl1pPr>
            <a:lvl2pPr>
              <a:defRPr lang="en-US" sz="1200" dirty="0">
                <a:solidFill>
                  <a:schemeClr val="accent1"/>
                </a:solidFill>
              </a:defRPr>
            </a:lvl2pPr>
            <a:lvl3pPr>
              <a:defRPr lang="en-US" sz="1200" dirty="0">
                <a:solidFill>
                  <a:schemeClr val="accent1"/>
                </a:solidFill>
              </a:defRPr>
            </a:lvl3pPr>
            <a:lvl4pPr>
              <a:defRPr lang="en-US" sz="1000" dirty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  <a:lvl6pPr>
              <a:defRPr lang="en-US" sz="1200" dirty="0">
                <a:solidFill>
                  <a:schemeClr val="accent1"/>
                </a:solidFill>
              </a:defRPr>
            </a:lvl6pPr>
            <a:lvl7pPr>
              <a:defRPr lang="en-US" sz="1000" dirty="0">
                <a:solidFill>
                  <a:schemeClr val="accent1"/>
                </a:solidFill>
              </a:defRPr>
            </a:lvl7pPr>
            <a:lvl8pPr>
              <a:defRPr lang="en-US" dirty="0">
                <a:solidFill>
                  <a:schemeClr val="accent1"/>
                </a:solidFill>
              </a:defRPr>
            </a:lvl8pPr>
            <a:lvl9pPr>
              <a:defRPr lang="en-US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</p:txBody>
      </p:sp>
      <p:sp>
        <p:nvSpPr>
          <p:cNvPr id="19" name="Text Placeholder center right">
            <a:extLst>
              <a:ext uri="{FF2B5EF4-FFF2-40B4-BE49-F238E27FC236}">
                <a16:creationId xmlns:a16="http://schemas.microsoft.com/office/drawing/2014/main" id="{8E8876E3-76FC-4ACB-8045-9ACBD3AB98C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02400" y="1370013"/>
            <a:ext cx="2432168" cy="701675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>
                <a:solidFill>
                  <a:schemeClr val="accent1"/>
                </a:solidFill>
              </a:defRPr>
            </a:lvl1pPr>
            <a:lvl2pPr>
              <a:defRPr lang="en-US" sz="1200" dirty="0">
                <a:solidFill>
                  <a:schemeClr val="accent1"/>
                </a:solidFill>
              </a:defRPr>
            </a:lvl2pPr>
            <a:lvl3pPr>
              <a:defRPr lang="en-US" sz="1200" dirty="0">
                <a:solidFill>
                  <a:schemeClr val="accent1"/>
                </a:solidFill>
              </a:defRPr>
            </a:lvl3pPr>
            <a:lvl4pPr>
              <a:defRPr lang="en-US" sz="1000" dirty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  <a:lvl6pPr>
              <a:defRPr lang="en-US" sz="1200" dirty="0">
                <a:solidFill>
                  <a:schemeClr val="accent1"/>
                </a:solidFill>
              </a:defRPr>
            </a:lvl6pPr>
            <a:lvl7pPr>
              <a:defRPr lang="en-US" sz="1000" dirty="0">
                <a:solidFill>
                  <a:schemeClr val="accent1"/>
                </a:solidFill>
              </a:defRPr>
            </a:lvl7pPr>
            <a:lvl8pPr>
              <a:defRPr lang="en-US" dirty="0">
                <a:solidFill>
                  <a:schemeClr val="accent1"/>
                </a:solidFill>
              </a:defRPr>
            </a:lvl8pPr>
            <a:lvl9pPr>
              <a:defRPr lang="en-US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</p:txBody>
      </p:sp>
      <p:sp>
        <p:nvSpPr>
          <p:cNvPr id="20" name="Text Placeholder right">
            <a:extLst>
              <a:ext uri="{FF2B5EF4-FFF2-40B4-BE49-F238E27FC236}">
                <a16:creationId xmlns:a16="http://schemas.microsoft.com/office/drawing/2014/main" id="{725A00B6-43EB-4ECA-AF70-EB3B121F052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810208" y="1370013"/>
            <a:ext cx="2433792" cy="701675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>
                <a:solidFill>
                  <a:schemeClr val="accent1"/>
                </a:solidFill>
              </a:defRPr>
            </a:lvl1pPr>
            <a:lvl2pPr>
              <a:defRPr lang="en-US" sz="1200" dirty="0">
                <a:solidFill>
                  <a:schemeClr val="accent1"/>
                </a:solidFill>
              </a:defRPr>
            </a:lvl2pPr>
            <a:lvl3pPr>
              <a:defRPr lang="en-US" sz="1200" dirty="0">
                <a:solidFill>
                  <a:schemeClr val="accent1"/>
                </a:solidFill>
              </a:defRPr>
            </a:lvl3pPr>
            <a:lvl4pPr>
              <a:defRPr lang="en-US" sz="1000" dirty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  <a:lvl6pPr>
              <a:defRPr lang="en-US" sz="1200" dirty="0">
                <a:solidFill>
                  <a:schemeClr val="accent1"/>
                </a:solidFill>
              </a:defRPr>
            </a:lvl6pPr>
            <a:lvl7pPr>
              <a:defRPr lang="en-US" sz="1000" dirty="0">
                <a:solidFill>
                  <a:schemeClr val="accent1"/>
                </a:solidFill>
              </a:defRPr>
            </a:lvl7pPr>
            <a:lvl8pPr>
              <a:defRPr lang="en-US" dirty="0">
                <a:solidFill>
                  <a:schemeClr val="accent1"/>
                </a:solidFill>
              </a:defRPr>
            </a:lvl8pPr>
            <a:lvl9pPr>
              <a:defRPr lang="en-US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</p:txBody>
      </p:sp>
      <p:sp>
        <p:nvSpPr>
          <p:cNvPr id="25" name="Content Placeholder left">
            <a:extLst>
              <a:ext uri="{FF2B5EF4-FFF2-40B4-BE49-F238E27FC236}">
                <a16:creationId xmlns:a16="http://schemas.microsoft.com/office/drawing/2014/main" id="{0BB2027E-987B-485D-89AA-87365F0151DF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6400" y="2305050"/>
            <a:ext cx="2433000" cy="3744912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26" name="Content Placeholder center left">
            <a:extLst>
              <a:ext uri="{FF2B5EF4-FFF2-40B4-BE49-F238E27FC236}">
                <a16:creationId xmlns:a16="http://schemas.microsoft.com/office/drawing/2014/main" id="{9E46103B-D425-4BC6-A1E6-5704302AEA0A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3194400" y="2305050"/>
            <a:ext cx="2433288" cy="3744912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27" name="Content Placeholder center right">
            <a:extLst>
              <a:ext uri="{FF2B5EF4-FFF2-40B4-BE49-F238E27FC236}">
                <a16:creationId xmlns:a16="http://schemas.microsoft.com/office/drawing/2014/main" id="{4C5B107C-E832-4C51-99BD-DBFE27272F46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6002399" y="2305050"/>
            <a:ext cx="2433575" cy="3744912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 dirty="0"/>
              <a:t>Click to 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 dirty="0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 dirty="0"/>
              <a:t>Third level</a:t>
            </a:r>
          </a:p>
          <a:p>
            <a:pPr lvl="3"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 dirty="0"/>
              <a:t>Sixth level</a:t>
            </a:r>
          </a:p>
          <a:p>
            <a:pPr lvl="6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28" name="Content Placeholder right">
            <a:extLst>
              <a:ext uri="{FF2B5EF4-FFF2-40B4-BE49-F238E27FC236}">
                <a16:creationId xmlns:a16="http://schemas.microsoft.com/office/drawing/2014/main" id="{546E20EC-644E-49F2-9E1F-9546C70449BE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8810399" y="2305050"/>
            <a:ext cx="2433863" cy="3744912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0EDFF9E-C967-40DC-8E03-0995A117EA7C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AACF3B69-8127-4046-A791-57CE4AFBD3DC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October 24, 2023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0F72F79-D9B5-4D0A-B162-39508696979A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8517A76-FB91-4F47-B520-B627D55DBE21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0494950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1305">
          <p15:clr>
            <a:srgbClr val="547EBF"/>
          </p15:clr>
        </p15:guide>
        <p15:guide id="7" orient="horz" pos="1452">
          <p15:clr>
            <a:srgbClr val="547EBF"/>
          </p15:clr>
        </p15:guide>
        <p15:guide id="8" orient="horz" pos="3811">
          <p15:clr>
            <a:srgbClr val="547EBF"/>
          </p15:clr>
        </p15:guide>
        <p15:guide id="9" orient="horz" pos="3958">
          <p15:clr>
            <a:srgbClr val="547EBF"/>
          </p15:clr>
        </p15:guide>
        <p15:guide id="10" pos="1776">
          <p15:clr>
            <a:srgbClr val="547EBF"/>
          </p15:clr>
        </p15:guide>
        <p15:guide id="11" pos="2012">
          <p15:clr>
            <a:srgbClr val="547EBF"/>
          </p15:clr>
        </p15:guide>
        <p15:guide id="12" pos="3545">
          <p15:clr>
            <a:srgbClr val="547EBF"/>
          </p15:clr>
        </p15:guide>
        <p15:guide id="13" pos="3781">
          <p15:clr>
            <a:srgbClr val="547EBF"/>
          </p15:clr>
        </p15:guide>
        <p15:guide id="14" pos="5314">
          <p15:clr>
            <a:srgbClr val="547EBF"/>
          </p15:clr>
        </p15:guide>
        <p15:guide id="15" pos="5550">
          <p15:clr>
            <a:srgbClr val="547EBF"/>
          </p15:clr>
        </p15:guide>
        <p15:guide id="16" pos="7083">
          <p15:clr>
            <a:srgbClr val="547EBF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Content &#10;with Text" type="objOverTx" preserve="1">
  <p:cSld name="Title Content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237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21" name="Content Placeholder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86399" y="1369800"/>
            <a:ext cx="10857863" cy="3089488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noProof="0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JhengHei"/>
              <a:cs typeface="Arial"/>
            </a:endParaRPr>
          </a:p>
        </p:txBody>
      </p:sp>
      <p:sp>
        <p:nvSpPr>
          <p:cNvPr id="12" name="Text Placeholder">
            <a:extLst>
              <a:ext uri="{FF2B5EF4-FFF2-40B4-BE49-F238E27FC236}">
                <a16:creationId xmlns:a16="http://schemas.microsoft.com/office/drawing/2014/main" id="{1A5B03E1-015A-4D18-B342-9CADF726D90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6400" y="4645800"/>
            <a:ext cx="10858500" cy="1404776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84FC1AD-118A-479F-B6D9-E94E29C8D3FE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64D15F24-6B43-40C0-92CA-B20BD4F41C61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October 24, 2023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564B1D0-72DB-448B-852E-084AA83DB1CD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C2BB846-FD72-404F-B0F8-B4CBB9109F35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6737719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pos="7083">
          <p15:clr>
            <a:srgbClr val="547EBF"/>
          </p15:clr>
        </p15:guide>
        <p15:guide id="4" orient="horz" pos="509">
          <p15:clr>
            <a:srgbClr val="547EBF"/>
          </p15:clr>
        </p15:guide>
        <p15:guide id="5" orient="horz" pos="745">
          <p15:clr>
            <a:srgbClr val="547EBF"/>
          </p15:clr>
        </p15:guide>
        <p15:guide id="6" orient="horz" pos="863">
          <p15:clr>
            <a:srgbClr val="547EBF"/>
          </p15:clr>
        </p15:guide>
        <p15:guide id="7" orient="horz" pos="2809">
          <p15:clr>
            <a:srgbClr val="547EBF"/>
          </p15:clr>
        </p15:guide>
        <p15:guide id="8" orient="horz" pos="2926">
          <p15:clr>
            <a:srgbClr val="547EBF"/>
          </p15:clr>
        </p15:guide>
        <p15:guide id="9" orient="horz" pos="3811">
          <p15:clr>
            <a:srgbClr val="547EBF"/>
          </p15:clr>
        </p15:guide>
        <p15:guide id="10" orient="horz" pos="3958">
          <p15:clr>
            <a:srgbClr val="547EBF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tIns="36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2000" baseline="0">
                <a:solidFill>
                  <a:schemeClr val="accent1"/>
                </a:solidFill>
              </a:defRPr>
            </a:lvl1pPr>
            <a:lvl2pPr>
              <a:lnSpc>
                <a:spcPct val="90000"/>
              </a:lnSpc>
              <a:spcBef>
                <a:spcPts val="369"/>
              </a:spcBef>
              <a:spcAft>
                <a:spcPts val="369"/>
              </a:spcAft>
              <a:defRPr sz="2000" baseline="0">
                <a:solidFill>
                  <a:schemeClr val="accent1"/>
                </a:solidFill>
              </a:defRPr>
            </a:lvl2pPr>
            <a:lvl3pPr>
              <a:lnSpc>
                <a:spcPct val="90000"/>
              </a:lnSpc>
              <a:spcBef>
                <a:spcPts val="369"/>
              </a:spcBef>
              <a:spcAft>
                <a:spcPts val="369"/>
              </a:spcAft>
              <a:defRPr sz="2000" baseline="0">
                <a:solidFill>
                  <a:schemeClr val="accent1"/>
                </a:solidFill>
              </a:defRPr>
            </a:lvl3pPr>
            <a:lvl4pPr>
              <a:lnSpc>
                <a:spcPct val="95000"/>
              </a:lnSpc>
              <a:spcBef>
                <a:spcPts val="369"/>
              </a:spcBef>
              <a:spcAft>
                <a:spcPts val="369"/>
              </a:spcAft>
              <a:defRPr sz="1600" baseline="0">
                <a:solidFill>
                  <a:schemeClr val="accent1"/>
                </a:solidFill>
              </a:defRPr>
            </a:lvl4pPr>
            <a:lvl5pPr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  <a:defRPr sz="1200" baseline="0">
                <a:solidFill>
                  <a:schemeClr val="accent1"/>
                </a:solidFill>
              </a:defRPr>
            </a:lvl5pPr>
            <a:lvl6pPr>
              <a:lnSpc>
                <a:spcPct val="90000"/>
              </a:lnSpc>
              <a:spcBef>
                <a:spcPts val="369"/>
              </a:spcBef>
              <a:spcAft>
                <a:spcPts val="369"/>
              </a:spcAft>
              <a:defRPr sz="2000" baseline="0">
                <a:solidFill>
                  <a:schemeClr val="accent1"/>
                </a:solidFill>
              </a:defRPr>
            </a:lvl6pPr>
            <a:lvl7pPr>
              <a:lnSpc>
                <a:spcPct val="95000"/>
              </a:lnSpc>
              <a:spcBef>
                <a:spcPts val="369"/>
              </a:spcBef>
              <a:spcAft>
                <a:spcPts val="369"/>
              </a:spcAft>
              <a:defRPr sz="1600" baseline="0">
                <a:solidFill>
                  <a:schemeClr val="accent1"/>
                </a:solidFill>
              </a:defRPr>
            </a:lvl7pPr>
            <a:lvl8pPr>
              <a:lnSpc>
                <a:spcPct val="95000"/>
              </a:lnSpc>
              <a:spcBef>
                <a:spcPts val="369"/>
              </a:spcBef>
              <a:spcAft>
                <a:spcPts val="369"/>
              </a:spcAft>
              <a:defRPr sz="1600" baseline="0">
                <a:solidFill>
                  <a:schemeClr val="accent1"/>
                </a:solidFill>
              </a:defRPr>
            </a:lvl8pPr>
            <a:lvl9pPr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  <a:defRPr sz="1200" baseline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2" name="Content Placeholder">
            <a:extLst>
              <a:ext uri="{FF2B5EF4-FFF2-40B4-BE49-F238E27FC236}">
                <a16:creationId xmlns:a16="http://schemas.microsoft.com/office/drawing/2014/main" id="{95CED1D3-1FC8-4A3D-BC76-3245976F6574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6399" y="1369799"/>
            <a:ext cx="10857863" cy="4680163"/>
          </a:xfrm>
        </p:spPr>
        <p:txBody>
          <a:bodyPr/>
          <a:lstStyle>
            <a:lvl6pPr>
              <a:buAutoNum type="arabicPeriod"/>
              <a:defRPr/>
            </a:lvl6pPr>
            <a:lvl7pPr>
              <a:buAutoNum type="romanLcPeriod"/>
              <a:defRPr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49D5BDC-1173-44FF-AFA5-8F2114E340A1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C14CD3A7-9E40-46FB-A41D-9CC29415685D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October 24, 2023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BCE3109-2B52-4738-928A-F7125818F0DB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18341C4-4C0D-4BED-9235-74E019B48B8F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  <p:sp>
        <p:nvSpPr>
          <p:cNvPr id="11" name="Logo">
            <a:extLst>
              <a:ext uri="{FF2B5EF4-FFF2-40B4-BE49-F238E27FC236}">
                <a16:creationId xmlns:a16="http://schemas.microsoft.com/office/drawing/2014/main" id="{46FDEC34-FCB4-4EAC-9BEA-21A661EFE34B}"/>
              </a:ext>
            </a:extLst>
          </p:cNvPr>
          <p:cNvSpPr>
            <a:spLocks/>
          </p:cNvSpPr>
          <p:nvPr userDrawn="1"/>
        </p:nvSpPr>
        <p:spPr bwMode="black">
          <a:xfrm>
            <a:off x="385763" y="6512963"/>
            <a:ext cx="538161" cy="150809"/>
          </a:xfrm>
          <a:custGeom>
            <a:avLst/>
            <a:gdLst>
              <a:gd name="connsiteX0" fmla="*/ 135721 w 1078169"/>
              <a:gd name="connsiteY0" fmla="*/ 71284 h 302134"/>
              <a:gd name="connsiteX1" fmla="*/ 109085 w 1078169"/>
              <a:gd name="connsiteY1" fmla="*/ 189249 h 302134"/>
              <a:gd name="connsiteX2" fmla="*/ 161091 w 1078169"/>
              <a:gd name="connsiteY2" fmla="*/ 189249 h 302134"/>
              <a:gd name="connsiteX3" fmla="*/ 394483 w 1078169"/>
              <a:gd name="connsiteY3" fmla="*/ 66210 h 302134"/>
              <a:gd name="connsiteX4" fmla="*/ 374189 w 1078169"/>
              <a:gd name="connsiteY4" fmla="*/ 89042 h 302134"/>
              <a:gd name="connsiteX5" fmla="*/ 418583 w 1078169"/>
              <a:gd name="connsiteY5" fmla="*/ 123290 h 302134"/>
              <a:gd name="connsiteX6" fmla="*/ 499763 w 1078169"/>
              <a:gd name="connsiteY6" fmla="*/ 210811 h 302134"/>
              <a:gd name="connsiteX7" fmla="*/ 422389 w 1078169"/>
              <a:gd name="connsiteY7" fmla="*/ 295797 h 302134"/>
              <a:gd name="connsiteX8" fmla="*/ 287933 w 1078169"/>
              <a:gd name="connsiteY8" fmla="*/ 281844 h 302134"/>
              <a:gd name="connsiteX9" fmla="*/ 287933 w 1078169"/>
              <a:gd name="connsiteY9" fmla="*/ 213348 h 302134"/>
              <a:gd name="connsiteX10" fmla="*/ 367845 w 1078169"/>
              <a:gd name="connsiteY10" fmla="*/ 242522 h 302134"/>
              <a:gd name="connsiteX11" fmla="*/ 412241 w 1078169"/>
              <a:gd name="connsiteY11" fmla="*/ 209543 h 302134"/>
              <a:gd name="connsiteX12" fmla="*/ 381797 w 1078169"/>
              <a:gd name="connsiteY12" fmla="*/ 176564 h 302134"/>
              <a:gd name="connsiteX13" fmla="*/ 394483 w 1078169"/>
              <a:gd name="connsiteY13" fmla="*/ 66210 h 302134"/>
              <a:gd name="connsiteX14" fmla="*/ 894245 w 1078169"/>
              <a:gd name="connsiteY14" fmla="*/ 9131 h 302134"/>
              <a:gd name="connsiteX15" fmla="*/ 972889 w 1078169"/>
              <a:gd name="connsiteY15" fmla="*/ 9131 h 302134"/>
              <a:gd name="connsiteX16" fmla="*/ 972889 w 1078169"/>
              <a:gd name="connsiteY16" fmla="*/ 236181 h 302134"/>
              <a:gd name="connsiteX17" fmla="*/ 1078169 w 1078169"/>
              <a:gd name="connsiteY17" fmla="*/ 236181 h 302134"/>
              <a:gd name="connsiteX18" fmla="*/ 1078169 w 1078169"/>
              <a:gd name="connsiteY18" fmla="*/ 295797 h 302134"/>
              <a:gd name="connsiteX19" fmla="*/ 894245 w 1078169"/>
              <a:gd name="connsiteY19" fmla="*/ 295797 h 302134"/>
              <a:gd name="connsiteX20" fmla="*/ 564453 w 1078169"/>
              <a:gd name="connsiteY20" fmla="*/ 9131 h 302134"/>
              <a:gd name="connsiteX21" fmla="*/ 650707 w 1078169"/>
              <a:gd name="connsiteY21" fmla="*/ 9131 h 302134"/>
              <a:gd name="connsiteX22" fmla="*/ 690029 w 1078169"/>
              <a:gd name="connsiteY22" fmla="*/ 181638 h 302134"/>
              <a:gd name="connsiteX23" fmla="*/ 730617 w 1078169"/>
              <a:gd name="connsiteY23" fmla="*/ 9131 h 302134"/>
              <a:gd name="connsiteX24" fmla="*/ 816873 w 1078169"/>
              <a:gd name="connsiteY24" fmla="*/ 9131 h 302134"/>
              <a:gd name="connsiteX25" fmla="*/ 854925 w 1078169"/>
              <a:gd name="connsiteY25" fmla="*/ 295797 h 302134"/>
              <a:gd name="connsiteX26" fmla="*/ 773745 w 1078169"/>
              <a:gd name="connsiteY26" fmla="*/ 295797 h 302134"/>
              <a:gd name="connsiteX27" fmla="*/ 759793 w 1078169"/>
              <a:gd name="connsiteY27" fmla="*/ 114411 h 302134"/>
              <a:gd name="connsiteX28" fmla="*/ 721739 w 1078169"/>
              <a:gd name="connsiteY28" fmla="*/ 295797 h 302134"/>
              <a:gd name="connsiteX29" fmla="*/ 658317 w 1078169"/>
              <a:gd name="connsiteY29" fmla="*/ 295797 h 302134"/>
              <a:gd name="connsiteX30" fmla="*/ 621533 w 1078169"/>
              <a:gd name="connsiteY30" fmla="*/ 114411 h 302134"/>
              <a:gd name="connsiteX31" fmla="*/ 607581 w 1078169"/>
              <a:gd name="connsiteY31" fmla="*/ 295797 h 302134"/>
              <a:gd name="connsiteX32" fmla="*/ 526401 w 1078169"/>
              <a:gd name="connsiteY32" fmla="*/ 295797 h 302134"/>
              <a:gd name="connsiteX33" fmla="*/ 86253 w 1078169"/>
              <a:gd name="connsiteY33" fmla="*/ 9131 h 302134"/>
              <a:gd name="connsiteX34" fmla="*/ 183923 w 1078169"/>
              <a:gd name="connsiteY34" fmla="*/ 9131 h 302134"/>
              <a:gd name="connsiteX35" fmla="*/ 270177 w 1078169"/>
              <a:gd name="connsiteY35" fmla="*/ 295797 h 302134"/>
              <a:gd name="connsiteX36" fmla="*/ 183923 w 1078169"/>
              <a:gd name="connsiteY36" fmla="*/ 295797 h 302134"/>
              <a:gd name="connsiteX37" fmla="*/ 172507 w 1078169"/>
              <a:gd name="connsiteY37" fmla="*/ 243791 h 302134"/>
              <a:gd name="connsiteX38" fmla="*/ 97669 w 1078169"/>
              <a:gd name="connsiteY38" fmla="*/ 243791 h 302134"/>
              <a:gd name="connsiteX39" fmla="*/ 86253 w 1078169"/>
              <a:gd name="connsiteY39" fmla="*/ 295797 h 302134"/>
              <a:gd name="connsiteX40" fmla="*/ 0 w 1078169"/>
              <a:gd name="connsiteY40" fmla="*/ 295797 h 302134"/>
              <a:gd name="connsiteX41" fmla="*/ 416643 w 1078169"/>
              <a:gd name="connsiteY41" fmla="*/ 173 h 302134"/>
              <a:gd name="connsiteX42" fmla="*/ 478201 w 1078169"/>
              <a:gd name="connsiteY42" fmla="*/ 14205 h 302134"/>
              <a:gd name="connsiteX43" fmla="*/ 478201 w 1078169"/>
              <a:gd name="connsiteY43" fmla="*/ 89043 h 302134"/>
              <a:gd name="connsiteX44" fmla="*/ 294277 w 1078169"/>
              <a:gd name="connsiteY44" fmla="*/ 109337 h 302134"/>
              <a:gd name="connsiteX45" fmla="*/ 416643 w 1078169"/>
              <a:gd name="connsiteY45" fmla="*/ 173 h 302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1078169" h="302134">
                <a:moveTo>
                  <a:pt x="135721" y="71284"/>
                </a:moveTo>
                <a:lnTo>
                  <a:pt x="109085" y="189249"/>
                </a:lnTo>
                <a:lnTo>
                  <a:pt x="161091" y="189249"/>
                </a:lnTo>
                <a:close/>
                <a:moveTo>
                  <a:pt x="394483" y="66210"/>
                </a:moveTo>
                <a:cubicBezTo>
                  <a:pt x="377993" y="71284"/>
                  <a:pt x="374189" y="80163"/>
                  <a:pt x="374189" y="89042"/>
                </a:cubicBezTo>
                <a:cubicBezTo>
                  <a:pt x="374189" y="109337"/>
                  <a:pt x="400825" y="115679"/>
                  <a:pt x="418583" y="123290"/>
                </a:cubicBezTo>
                <a:cubicBezTo>
                  <a:pt x="447757" y="134705"/>
                  <a:pt x="501033" y="148658"/>
                  <a:pt x="499763" y="210811"/>
                </a:cubicBezTo>
                <a:cubicBezTo>
                  <a:pt x="499763" y="247596"/>
                  <a:pt x="464247" y="283112"/>
                  <a:pt x="422389" y="295797"/>
                </a:cubicBezTo>
                <a:cubicBezTo>
                  <a:pt x="371653" y="311018"/>
                  <a:pt x="319645" y="295797"/>
                  <a:pt x="287933" y="281844"/>
                </a:cubicBezTo>
                <a:lnTo>
                  <a:pt x="287933" y="213348"/>
                </a:lnTo>
                <a:cubicBezTo>
                  <a:pt x="314573" y="231106"/>
                  <a:pt x="338671" y="242522"/>
                  <a:pt x="367845" y="242522"/>
                </a:cubicBezTo>
                <a:cubicBezTo>
                  <a:pt x="385605" y="242522"/>
                  <a:pt x="412241" y="233643"/>
                  <a:pt x="412241" y="209543"/>
                </a:cubicBezTo>
                <a:cubicBezTo>
                  <a:pt x="412241" y="189248"/>
                  <a:pt x="393215" y="182906"/>
                  <a:pt x="381797" y="176564"/>
                </a:cubicBezTo>
                <a:cubicBezTo>
                  <a:pt x="318377" y="142316"/>
                  <a:pt x="337403" y="72552"/>
                  <a:pt x="394483" y="66210"/>
                </a:cubicBezTo>
                <a:close/>
                <a:moveTo>
                  <a:pt x="894245" y="9131"/>
                </a:moveTo>
                <a:lnTo>
                  <a:pt x="972889" y="9131"/>
                </a:lnTo>
                <a:lnTo>
                  <a:pt x="972889" y="236181"/>
                </a:lnTo>
                <a:lnTo>
                  <a:pt x="1078169" y="236181"/>
                </a:lnTo>
                <a:lnTo>
                  <a:pt x="1078169" y="295797"/>
                </a:lnTo>
                <a:lnTo>
                  <a:pt x="894245" y="295797"/>
                </a:lnTo>
                <a:close/>
                <a:moveTo>
                  <a:pt x="564453" y="9131"/>
                </a:moveTo>
                <a:lnTo>
                  <a:pt x="650707" y="9131"/>
                </a:lnTo>
                <a:lnTo>
                  <a:pt x="690029" y="181638"/>
                </a:lnTo>
                <a:lnTo>
                  <a:pt x="730617" y="9131"/>
                </a:lnTo>
                <a:lnTo>
                  <a:pt x="816873" y="9131"/>
                </a:lnTo>
                <a:lnTo>
                  <a:pt x="854925" y="295797"/>
                </a:lnTo>
                <a:lnTo>
                  <a:pt x="773745" y="295797"/>
                </a:lnTo>
                <a:lnTo>
                  <a:pt x="759793" y="114411"/>
                </a:lnTo>
                <a:lnTo>
                  <a:pt x="721739" y="295797"/>
                </a:lnTo>
                <a:lnTo>
                  <a:pt x="658317" y="295797"/>
                </a:lnTo>
                <a:lnTo>
                  <a:pt x="621533" y="114411"/>
                </a:lnTo>
                <a:lnTo>
                  <a:pt x="607581" y="295797"/>
                </a:lnTo>
                <a:lnTo>
                  <a:pt x="526401" y="295797"/>
                </a:lnTo>
                <a:close/>
                <a:moveTo>
                  <a:pt x="86253" y="9131"/>
                </a:moveTo>
                <a:lnTo>
                  <a:pt x="183923" y="9131"/>
                </a:lnTo>
                <a:lnTo>
                  <a:pt x="270177" y="295797"/>
                </a:lnTo>
                <a:lnTo>
                  <a:pt x="183923" y="295797"/>
                </a:lnTo>
                <a:lnTo>
                  <a:pt x="172507" y="243791"/>
                </a:lnTo>
                <a:lnTo>
                  <a:pt x="97669" y="243791"/>
                </a:lnTo>
                <a:lnTo>
                  <a:pt x="86253" y="295797"/>
                </a:lnTo>
                <a:lnTo>
                  <a:pt x="0" y="295797"/>
                </a:lnTo>
                <a:close/>
                <a:moveTo>
                  <a:pt x="416643" y="173"/>
                </a:moveTo>
                <a:cubicBezTo>
                  <a:pt x="438563" y="1124"/>
                  <a:pt x="460127" y="5960"/>
                  <a:pt x="478201" y="14205"/>
                </a:cubicBezTo>
                <a:cubicBezTo>
                  <a:pt x="479469" y="31963"/>
                  <a:pt x="480737" y="49721"/>
                  <a:pt x="478201" y="89043"/>
                </a:cubicBezTo>
                <a:cubicBezTo>
                  <a:pt x="407169" y="26889"/>
                  <a:pt x="295545" y="52258"/>
                  <a:pt x="294277" y="109337"/>
                </a:cubicBezTo>
                <a:cubicBezTo>
                  <a:pt x="281911" y="29426"/>
                  <a:pt x="350883" y="-2681"/>
                  <a:pt x="416643" y="173"/>
                </a:cubicBezTo>
                <a:close/>
              </a:path>
            </a:pathLst>
          </a:custGeom>
          <a:solidFill>
            <a:srgbClr val="10069F"/>
          </a:solidFill>
          <a:ln w="1268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endParaRPr lang="en-US" sz="2400" baseline="0" dirty="0">
              <a:latin typeface="+mn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000764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>
        <p15:guide id="1" pos="7083">
          <p15:clr>
            <a:srgbClr val="547EBF"/>
          </p15:clr>
        </p15:guide>
        <p15:guide id="2" orient="horz" pos="863">
          <p15:clr>
            <a:srgbClr val="547EBF"/>
          </p15:clr>
        </p15:guide>
        <p15:guide id="3" pos="243">
          <p15:clr>
            <a:srgbClr val="547EBF"/>
          </p15:clr>
        </p15:guide>
        <p15:guide id="4" orient="horz" pos="3811">
          <p15:clr>
            <a:srgbClr val="547EBF"/>
          </p15:clr>
        </p15:guide>
        <p15:guide id="5" orient="horz" pos="3958">
          <p15:clr>
            <a:srgbClr val="547EBF"/>
          </p15:clr>
        </p15:guide>
        <p15:guide id="7" orient="horz" pos="745">
          <p15:clr>
            <a:srgbClr val="547EBF"/>
          </p15:clr>
        </p15:guide>
        <p15:guide id="8" orient="horz" pos="273">
          <p15:clr>
            <a:srgbClr val="547EBF"/>
          </p15:clr>
        </p15:guide>
        <p15:guide id="9" orient="horz" pos="509">
          <p15:clr>
            <a:srgbClr val="547EBF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2 Contents &#10;with Text" type="twoObjOverTx" preserve="1">
  <p:cSld name="Title 2 Content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237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21" name="Content Placeholder left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86400" y="1370013"/>
            <a:ext cx="5241600" cy="308858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right">
            <a:extLst>
              <a:ext uri="{FF2B5EF4-FFF2-40B4-BE49-F238E27FC236}">
                <a16:creationId xmlns:a16="http://schemas.microsoft.com/office/drawing/2014/main" id="{EC6E7A83-9797-4BE9-93CC-79CCAEF0A0E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02400" y="1370013"/>
            <a:ext cx="5241862" cy="308858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left">
            <a:extLst>
              <a:ext uri="{FF2B5EF4-FFF2-40B4-BE49-F238E27FC236}">
                <a16:creationId xmlns:a16="http://schemas.microsoft.com/office/drawing/2014/main" id="{0CFC4BF5-DB1E-4713-9E98-00F92C026B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763" y="4646010"/>
            <a:ext cx="5242237" cy="1404006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right">
            <a:extLst>
              <a:ext uri="{FF2B5EF4-FFF2-40B4-BE49-F238E27FC236}">
                <a16:creationId xmlns:a16="http://schemas.microsoft.com/office/drawing/2014/main" id="{2736EA48-A5FD-471F-8C50-CAC9BAAFCCB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02400" y="4645800"/>
            <a:ext cx="5237781" cy="140400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0FFBE53-5DCA-4779-8AAF-DDEF8984ED07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CFE5F86F-552B-4977-B9DD-7E75D9D4FFE2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October 24, 2023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091EF74-A273-4D9F-BFB8-4F3A848D8DA5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0DA29FB-8CE8-4CA8-BAAF-0562B530F84B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2698015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708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2809">
          <p15:clr>
            <a:srgbClr val="547EBF"/>
          </p15:clr>
        </p15:guide>
        <p15:guide id="7" orient="horz" pos="2926">
          <p15:clr>
            <a:srgbClr val="547EBF"/>
          </p15:clr>
        </p15:guide>
        <p15:guide id="8" orient="horz" pos="3811">
          <p15:clr>
            <a:srgbClr val="547EBF"/>
          </p15:clr>
        </p15:guide>
        <p15:guide id="9" orient="horz" pos="3958">
          <p15:clr>
            <a:srgbClr val="547EBF"/>
          </p15:clr>
        </p15:guide>
        <p15:guide id="10" pos="243">
          <p15:clr>
            <a:srgbClr val="547EBF"/>
          </p15:clr>
        </p15:guide>
        <p15:guide id="11" pos="3545">
          <p15:clr>
            <a:srgbClr val="547EBF"/>
          </p15:clr>
        </p15:guide>
        <p15:guide id="12" pos="3781">
          <p15:clr>
            <a:srgbClr val="547EBF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3 Contents &#10;with Text" preserve="1">
  <p:cSld name="Title 3 Content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237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21" name="Content Placeholder left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86400" y="1370013"/>
            <a:ext cx="3369600" cy="308858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center">
            <a:extLst>
              <a:ext uri="{FF2B5EF4-FFF2-40B4-BE49-F238E27FC236}">
                <a16:creationId xmlns:a16="http://schemas.microsoft.com/office/drawing/2014/main" id="{EC6E7A83-9797-4BE9-93CC-79CCAEF0A0E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130400" y="1369800"/>
            <a:ext cx="3369600" cy="308858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3" name="Content Placeholder right">
            <a:extLst>
              <a:ext uri="{FF2B5EF4-FFF2-40B4-BE49-F238E27FC236}">
                <a16:creationId xmlns:a16="http://schemas.microsoft.com/office/drawing/2014/main" id="{050396BA-273E-425D-AD91-83515A91269F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7874399" y="1369800"/>
            <a:ext cx="3369863" cy="308858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noProof="0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JhengHei"/>
              <a:cs typeface="Arial"/>
            </a:endParaRPr>
          </a:p>
        </p:txBody>
      </p:sp>
      <p:sp>
        <p:nvSpPr>
          <p:cNvPr id="12" name="Text Placeholder left">
            <a:extLst>
              <a:ext uri="{FF2B5EF4-FFF2-40B4-BE49-F238E27FC236}">
                <a16:creationId xmlns:a16="http://schemas.microsoft.com/office/drawing/2014/main" id="{A8886709-9610-483F-92CC-2A72A3FBEFD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763" y="4645797"/>
            <a:ext cx="3370237" cy="1404003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center">
            <a:extLst>
              <a:ext uri="{FF2B5EF4-FFF2-40B4-BE49-F238E27FC236}">
                <a16:creationId xmlns:a16="http://schemas.microsoft.com/office/drawing/2014/main" id="{C5D6C4C1-1748-4F13-BF71-CB0B1D588BA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30400" y="4645800"/>
            <a:ext cx="3367372" cy="140399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right">
            <a:extLst>
              <a:ext uri="{FF2B5EF4-FFF2-40B4-BE49-F238E27FC236}">
                <a16:creationId xmlns:a16="http://schemas.microsoft.com/office/drawing/2014/main" id="{137B864B-E3EF-48FF-9B48-5900C6762F5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876628" y="4645800"/>
            <a:ext cx="3367372" cy="140399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1E5C7900-745E-4006-AAFE-0C3258E3DCEF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FE3B7811-8A70-4E0A-80E6-0BEFC6238E7B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October 24, 2023</a:t>
            </a:fld>
            <a:endParaRPr lang="en-US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F2F9DF32-2956-4A1E-80B3-89A1D1BB0C35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C0A82D22-5BA5-44CE-BE69-87DDF0144BE9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896956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2809">
          <p15:clr>
            <a:srgbClr val="547EBF"/>
          </p15:clr>
        </p15:guide>
        <p15:guide id="7" orient="horz" pos="2926">
          <p15:clr>
            <a:srgbClr val="547EBF"/>
          </p15:clr>
        </p15:guide>
        <p15:guide id="8" orient="horz" pos="3811">
          <p15:clr>
            <a:srgbClr val="547EBF"/>
          </p15:clr>
        </p15:guide>
        <p15:guide id="9" orient="horz" pos="3958">
          <p15:clr>
            <a:srgbClr val="547EBF"/>
          </p15:clr>
        </p15:guide>
        <p15:guide id="10" pos="2366">
          <p15:clr>
            <a:srgbClr val="547EBF"/>
          </p15:clr>
        </p15:guide>
        <p15:guide id="11" pos="2602">
          <p15:clr>
            <a:srgbClr val="547EBF"/>
          </p15:clr>
        </p15:guide>
        <p15:guide id="12" pos="4724">
          <p15:clr>
            <a:srgbClr val="547EBF"/>
          </p15:clr>
        </p15:guide>
        <p15:guide id="13" pos="4960">
          <p15:clr>
            <a:srgbClr val="547EBF"/>
          </p15:clr>
        </p15:guide>
        <p15:guide id="14" pos="7083">
          <p15:clr>
            <a:srgbClr val="547EBF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4 Contents &#10;with Text" preserve="1">
  <p:cSld name="Title 4 Content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237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21" name="Content Placeholder left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86400" y="1369801"/>
            <a:ext cx="2433600" cy="30888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center left">
            <a:extLst>
              <a:ext uri="{FF2B5EF4-FFF2-40B4-BE49-F238E27FC236}">
                <a16:creationId xmlns:a16="http://schemas.microsoft.com/office/drawing/2014/main" id="{EC6E7A83-9797-4BE9-93CC-79CCAEF0A0E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194400" y="1369801"/>
            <a:ext cx="2433600" cy="30888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23" name="Content Placeholder center right">
            <a:extLst>
              <a:ext uri="{FF2B5EF4-FFF2-40B4-BE49-F238E27FC236}">
                <a16:creationId xmlns:a16="http://schemas.microsoft.com/office/drawing/2014/main" id="{050396BA-273E-425D-AD91-83515A91269F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002400" y="1369801"/>
            <a:ext cx="2433600" cy="30888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24" name="Content Placeholder right">
            <a:extLst>
              <a:ext uri="{FF2B5EF4-FFF2-40B4-BE49-F238E27FC236}">
                <a16:creationId xmlns:a16="http://schemas.microsoft.com/office/drawing/2014/main" id="{9DCB9383-FF8B-4F58-9768-9723C97F0D99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8810399" y="1369801"/>
            <a:ext cx="2433863" cy="30888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left">
            <a:extLst>
              <a:ext uri="{FF2B5EF4-FFF2-40B4-BE49-F238E27FC236}">
                <a16:creationId xmlns:a16="http://schemas.microsoft.com/office/drawing/2014/main" id="{F3C161C3-640E-41D6-A44F-B3AC303481B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763" y="4645797"/>
            <a:ext cx="2434237" cy="1403685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center left">
            <a:extLst>
              <a:ext uri="{FF2B5EF4-FFF2-40B4-BE49-F238E27FC236}">
                <a16:creationId xmlns:a16="http://schemas.microsoft.com/office/drawing/2014/main" id="{BF155FED-E878-4F82-91CB-EEB6A0EAACD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194400" y="4645055"/>
            <a:ext cx="2432168" cy="1404745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 Placeholder center right">
            <a:extLst>
              <a:ext uri="{FF2B5EF4-FFF2-40B4-BE49-F238E27FC236}">
                <a16:creationId xmlns:a16="http://schemas.microsoft.com/office/drawing/2014/main" id="{2D1F3CDA-96EB-4C1B-8688-55D69CCE435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02400" y="4645800"/>
            <a:ext cx="2432168" cy="1403681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ext Placeholder right">
            <a:extLst>
              <a:ext uri="{FF2B5EF4-FFF2-40B4-BE49-F238E27FC236}">
                <a16:creationId xmlns:a16="http://schemas.microsoft.com/office/drawing/2014/main" id="{8857AEC9-5CA3-4A1E-B979-308C2CAC471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810208" y="4645800"/>
            <a:ext cx="2433792" cy="1403681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896A14B-7708-46D9-8826-69E1E642DEC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C37681E4-1BFC-43B2-8037-029FB590810D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October 24, 2023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74E8C58-8CC0-4477-8D91-E7F3D11137D0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118CE30-E3AA-4912-B632-62F474FEF024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3574378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012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pos="243">
          <p15:clr>
            <a:srgbClr val="547EBF"/>
          </p15:clr>
        </p15:guide>
        <p15:guide id="4" pos="7083">
          <p15:clr>
            <a:srgbClr val="547EBF"/>
          </p15:clr>
        </p15:guide>
        <p15:guide id="5" pos="1776">
          <p15:clr>
            <a:srgbClr val="547EBF"/>
          </p15:clr>
        </p15:guide>
        <p15:guide id="6" pos="3545">
          <p15:clr>
            <a:srgbClr val="547EBF"/>
          </p15:clr>
        </p15:guide>
        <p15:guide id="7" pos="3781">
          <p15:clr>
            <a:srgbClr val="547EBF"/>
          </p15:clr>
        </p15:guide>
        <p15:guide id="8" pos="5314">
          <p15:clr>
            <a:srgbClr val="547EBF"/>
          </p15:clr>
        </p15:guide>
        <p15:guide id="9" pos="5550">
          <p15:clr>
            <a:srgbClr val="547EBF"/>
          </p15:clr>
        </p15:guide>
        <p15:guide id="10" orient="horz" pos="509">
          <p15:clr>
            <a:srgbClr val="547EBF"/>
          </p15:clr>
        </p15:guide>
        <p15:guide id="11" orient="horz" pos="745">
          <p15:clr>
            <a:srgbClr val="547EBF"/>
          </p15:clr>
        </p15:guide>
        <p15:guide id="12" orient="horz" pos="863">
          <p15:clr>
            <a:srgbClr val="547EBF"/>
          </p15:clr>
        </p15:guide>
        <p15:guide id="13" orient="horz" pos="2809">
          <p15:clr>
            <a:srgbClr val="547EBF"/>
          </p15:clr>
        </p15:guide>
        <p15:guide id="14" orient="horz" pos="2926">
          <p15:clr>
            <a:srgbClr val="547EBF"/>
          </p15:clr>
        </p15:guide>
        <p15:guide id="15" orient="horz" pos="3811">
          <p15:clr>
            <a:srgbClr val="547EBF"/>
          </p15:clr>
        </p15:guide>
        <p15:guide id="16" orient="horz" pos="3958">
          <p15:clr>
            <a:srgbClr val="547EBF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ntents &#10;with Header right" type="twoObjAndTx" preserve="1">
  <p:cSld name="2 Contents with Header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238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21" name="Content Placeholder left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86400" y="1370014"/>
            <a:ext cx="5241600" cy="4679736"/>
          </a:xfrm>
        </p:spPr>
        <p:txBody>
          <a:bodyPr vert="horz" lIns="0" tIns="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right">
            <a:extLst>
              <a:ext uri="{FF2B5EF4-FFF2-40B4-BE49-F238E27FC236}">
                <a16:creationId xmlns:a16="http://schemas.microsoft.com/office/drawing/2014/main" id="{EC6E7A83-9797-4BE9-93CC-79CCAEF0A0E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02400" y="1838324"/>
            <a:ext cx="5241862" cy="4211425"/>
          </a:xfrm>
        </p:spPr>
        <p:txBody>
          <a:bodyPr vert="horz" lIns="0" tIns="0" rIns="0" bIns="0" rtlCol="0">
            <a:noAutofit/>
          </a:bodyPr>
          <a:lstStyle>
            <a:lvl1pPr>
              <a:defRPr lang="en-US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right">
            <a:extLst>
              <a:ext uri="{FF2B5EF4-FFF2-40B4-BE49-F238E27FC236}">
                <a16:creationId xmlns:a16="http://schemas.microsoft.com/office/drawing/2014/main" id="{0CFC4BF5-DB1E-4713-9E98-00F92C026B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01763" y="1370013"/>
            <a:ext cx="5242237" cy="280988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  <a:lvl2pPr>
              <a:defRPr baseline="0">
                <a:solidFill>
                  <a:schemeClr val="accent1"/>
                </a:solidFill>
              </a:defRPr>
            </a:lvl2pPr>
            <a:lvl3pPr>
              <a:defRPr baseline="0">
                <a:solidFill>
                  <a:schemeClr val="accent1"/>
                </a:solidFill>
              </a:defRPr>
            </a:lvl3pPr>
            <a:lvl4pPr>
              <a:defRPr baseline="0">
                <a:solidFill>
                  <a:schemeClr val="accent1"/>
                </a:solidFill>
              </a:defRPr>
            </a:lvl4pPr>
            <a:lvl5pPr>
              <a:defRPr baseline="0"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298ADD4-8AFF-4ACF-93DF-CFB1C5ACF223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E41893C4-02D9-4333-95BC-1DA31FA8CEFE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October 24, 2023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24B576C-63CA-4CCA-9DD6-D688BE66DF83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9DAFDF3-2398-4828-B505-4DD868805744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575749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708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3811">
          <p15:clr>
            <a:srgbClr val="547EBF"/>
          </p15:clr>
        </p15:guide>
        <p15:guide id="7" orient="horz" pos="3958">
          <p15:clr>
            <a:srgbClr val="547EBF"/>
          </p15:clr>
        </p15:guide>
        <p15:guide id="8" pos="243">
          <p15:clr>
            <a:srgbClr val="547EBF"/>
          </p15:clr>
        </p15:guide>
        <p15:guide id="9" pos="3545">
          <p15:clr>
            <a:srgbClr val="547EBF"/>
          </p15:clr>
        </p15:guide>
        <p15:guide id="10" pos="3781">
          <p15:clr>
            <a:srgbClr val="547EBF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ntents &#10;with Intro right" type="txAndTwoObj" preserve="1">
  <p:cSld name="2 Contents with Intr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237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21" name="Content Placeholder left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86400" y="1370014"/>
            <a:ext cx="5241600" cy="4679736"/>
          </a:xfrm>
        </p:spPr>
        <p:txBody>
          <a:bodyPr vert="horz" lIns="0" tIns="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right">
            <a:extLst>
              <a:ext uri="{FF2B5EF4-FFF2-40B4-BE49-F238E27FC236}">
                <a16:creationId xmlns:a16="http://schemas.microsoft.com/office/drawing/2014/main" id="{EC6E7A83-9797-4BE9-93CC-79CCAEF0A0E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02400" y="2305800"/>
            <a:ext cx="5241862" cy="3743949"/>
          </a:xfrm>
        </p:spPr>
        <p:txBody>
          <a:bodyPr vert="horz" lIns="0" tIns="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right">
            <a:extLst>
              <a:ext uri="{FF2B5EF4-FFF2-40B4-BE49-F238E27FC236}">
                <a16:creationId xmlns:a16="http://schemas.microsoft.com/office/drawing/2014/main" id="{0CFC4BF5-DB1E-4713-9E98-00F92C026B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01763" y="1370012"/>
            <a:ext cx="5242237" cy="748803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  <a:lvl2pPr>
              <a:defRPr baseline="0">
                <a:solidFill>
                  <a:schemeClr val="accent1"/>
                </a:solidFill>
              </a:defRPr>
            </a:lvl2pPr>
            <a:lvl3pPr>
              <a:defRPr baseline="0">
                <a:solidFill>
                  <a:schemeClr val="accent1"/>
                </a:solidFill>
              </a:defRPr>
            </a:lvl3pPr>
            <a:lvl4pPr>
              <a:defRPr baseline="0">
                <a:solidFill>
                  <a:schemeClr val="accent1"/>
                </a:solidFill>
              </a:defRPr>
            </a:lvl4pPr>
            <a:lvl5pPr>
              <a:defRPr baseline="0"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63FEF96-3E0F-4E0F-AFE2-A69102B82C90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F2AFF231-6E5F-4F60-AA37-7DE0ACD786C2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October 24, 2023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648DFA4-1119-44B7-BD42-A233F8668434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5DB2CF4-935D-40C6-B1CF-F181FED349E0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3248615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781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3811">
          <p15:clr>
            <a:srgbClr val="547EBF"/>
          </p15:clr>
        </p15:guide>
        <p15:guide id="7" orient="horz" pos="3958">
          <p15:clr>
            <a:srgbClr val="547EBF"/>
          </p15:clr>
        </p15:guide>
        <p15:guide id="8" pos="3545">
          <p15:clr>
            <a:srgbClr val="547EBF"/>
          </p15:clr>
        </p15:guide>
        <p15:guide id="9" pos="243">
          <p15:clr>
            <a:srgbClr val="547EBF"/>
          </p15:clr>
        </p15:guide>
        <p15:guide id="10" pos="7083">
          <p15:clr>
            <a:srgbClr val="547EBF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ntents &#10;with Text right" type="mediaAndTx" preserve="1">
  <p:cSld name="2 Contents with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237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21" name="Content Placeholder left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86400" y="1370014"/>
            <a:ext cx="5241600" cy="4679736"/>
          </a:xfrm>
        </p:spPr>
        <p:txBody>
          <a:bodyPr vert="horz" lIns="0" tIns="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noProof="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JhengHei"/>
              <a:cs typeface="Arial"/>
            </a:endParaRPr>
          </a:p>
        </p:txBody>
      </p:sp>
      <p:sp>
        <p:nvSpPr>
          <p:cNvPr id="22" name="Content Placeholder right">
            <a:extLst>
              <a:ext uri="{FF2B5EF4-FFF2-40B4-BE49-F238E27FC236}">
                <a16:creationId xmlns:a16="http://schemas.microsoft.com/office/drawing/2014/main" id="{EC6E7A83-9797-4BE9-93CC-79CCAEF0A0E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02400" y="1369801"/>
            <a:ext cx="5241862" cy="3088800"/>
          </a:xfrm>
        </p:spPr>
        <p:txBody>
          <a:bodyPr vert="horz" lIns="0" tIns="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right">
            <a:extLst>
              <a:ext uri="{FF2B5EF4-FFF2-40B4-BE49-F238E27FC236}">
                <a16:creationId xmlns:a16="http://schemas.microsoft.com/office/drawing/2014/main" id="{0CFC4BF5-DB1E-4713-9E98-00F92C026B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01763" y="4645611"/>
            <a:ext cx="5242237" cy="1404351"/>
          </a:xfrm>
        </p:spPr>
        <p:txBody>
          <a:bodyPr vert="horz" lIns="0" tIns="0" rIns="0" bIns="0" rtlCol="0">
            <a:noAutofit/>
          </a:bodyPr>
          <a:lstStyle>
            <a:lvl1pPr>
              <a:defRPr lang="en-US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 marL="519750" indent="-285750">
              <a:buNone/>
              <a:defRPr lang="en-US" sz="1600" kern="1200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JhengHei"/>
              <a:cs typeface="Arial"/>
            </a:endParaRP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02E3762-0CF3-461E-BD9F-A326B5F02B14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7106D8F7-02B1-4160-83C7-46939707B81B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October 24, 2023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58D85ED-676A-4FEA-9EA2-2C71D76D7093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9BEE438-0DDB-4A6A-921F-7BE670E39DCA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4505385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273">
          <p15:clr>
            <a:srgbClr val="547EBF"/>
          </p15:clr>
        </p15:guide>
        <p15:guide id="2" pos="243">
          <p15:clr>
            <a:srgbClr val="547EBF"/>
          </p15:clr>
        </p15:guide>
        <p15:guide id="3" pos="3545">
          <p15:clr>
            <a:srgbClr val="547EBF"/>
          </p15:clr>
        </p15:guide>
        <p15:guide id="4" pos="3781">
          <p15:clr>
            <a:srgbClr val="547EBF"/>
          </p15:clr>
        </p15:guide>
        <p15:guide id="5" pos="7083">
          <p15:clr>
            <a:srgbClr val="547EBF"/>
          </p15:clr>
        </p15:guide>
        <p15:guide id="6" orient="horz" pos="509">
          <p15:clr>
            <a:srgbClr val="547EBF"/>
          </p15:clr>
        </p15:guide>
        <p15:guide id="7" orient="horz" pos="745">
          <p15:clr>
            <a:srgbClr val="547EBF"/>
          </p15:clr>
        </p15:guide>
        <p15:guide id="8" orient="horz" pos="863">
          <p15:clr>
            <a:srgbClr val="547EBF"/>
          </p15:clr>
        </p15:guide>
        <p15:guide id="9" orient="horz" pos="3811">
          <p15:clr>
            <a:srgbClr val="547EBF"/>
          </p15:clr>
        </p15:guide>
        <p15:guide id="10" orient="horz" pos="3958">
          <p15:clr>
            <a:srgbClr val="547EBF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ntents &#10;with Text left" type="txAndMedia" preserve="1">
  <p:cSld name="2 Contents with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237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21" name="Content Placeholder right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6002400" y="1369800"/>
            <a:ext cx="5241600" cy="4679736"/>
          </a:xfrm>
        </p:spPr>
        <p:txBody>
          <a:bodyPr vert="horz" lIns="0" tIns="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  <a:lvl6pPr>
              <a:buAutoNum type="arabicPeriod"/>
              <a:defRPr/>
            </a:lvl6pPr>
            <a:lvl7pPr>
              <a:buAutoNum type="romanLcPeriod"/>
              <a:defRPr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left">
            <a:extLst>
              <a:ext uri="{FF2B5EF4-FFF2-40B4-BE49-F238E27FC236}">
                <a16:creationId xmlns:a16="http://schemas.microsoft.com/office/drawing/2014/main" id="{EC6E7A83-9797-4BE9-93CC-79CCAEF0A0E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87037" y="1369801"/>
            <a:ext cx="5241862" cy="3088800"/>
          </a:xfrm>
        </p:spPr>
        <p:txBody>
          <a:bodyPr vert="horz" lIns="0" tIns="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noProof="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JhengHei"/>
              <a:cs typeface="Arial"/>
            </a:endParaRPr>
          </a:p>
        </p:txBody>
      </p:sp>
      <p:sp>
        <p:nvSpPr>
          <p:cNvPr id="11" name="Text Placeholder left">
            <a:extLst>
              <a:ext uri="{FF2B5EF4-FFF2-40B4-BE49-F238E27FC236}">
                <a16:creationId xmlns:a16="http://schemas.microsoft.com/office/drawing/2014/main" id="{0CFC4BF5-DB1E-4713-9E98-00F92C026B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6400" y="4645611"/>
            <a:ext cx="5242237" cy="1404351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>
                <a:solidFill>
                  <a:schemeClr val="accent1"/>
                </a:solidFill>
              </a:defRPr>
            </a:lvl1pPr>
            <a:lvl2pPr>
              <a:defRPr lang="en-US" dirty="0">
                <a:solidFill>
                  <a:schemeClr val="accent1"/>
                </a:solidFill>
              </a:defRPr>
            </a:lvl2pPr>
            <a:lvl3pPr>
              <a:defRPr lang="en-US" dirty="0">
                <a:solidFill>
                  <a:schemeClr val="accent1"/>
                </a:solidFill>
              </a:defRPr>
            </a:lvl3pPr>
            <a:lvl4pPr>
              <a:defRPr lang="en-US" dirty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  <a:lvl6pPr>
              <a:buAutoNum type="arabicPeriod"/>
              <a:defRPr lang="en-US" dirty="0">
                <a:solidFill>
                  <a:schemeClr val="accent1"/>
                </a:solidFill>
              </a:defRPr>
            </a:lvl6pPr>
            <a:lvl7pPr>
              <a:buAutoNum type="romanLcPeriod"/>
              <a:defRPr lang="en-US" dirty="0">
                <a:solidFill>
                  <a:schemeClr val="accent1"/>
                </a:solidFill>
              </a:defRPr>
            </a:lvl7pPr>
            <a:lvl8pPr>
              <a:defRPr lang="en-US" dirty="0">
                <a:solidFill>
                  <a:schemeClr val="accent1"/>
                </a:solidFill>
              </a:defRPr>
            </a:lvl8pPr>
            <a:lvl9pPr>
              <a:defRPr lang="en-US" dirty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7FD0E28-6962-45CE-B41C-F26C7DD3067E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AE90AF89-4D3A-4473-BDD4-EB66E7355146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October 24, 2023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E6ED946-A89F-4642-A6D1-5B220E00CC0E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5E1D2E-928D-46A5-A4D0-3B092CC58C35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0684934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545">
          <p15:clr>
            <a:srgbClr val="547EBF"/>
          </p15:clr>
        </p15:guide>
        <p15:guide id="2" orient="horz" pos="3811">
          <p15:clr>
            <a:srgbClr val="547EBF"/>
          </p15:clr>
        </p15:guide>
        <p15:guide id="3" pos="3781">
          <p15:clr>
            <a:srgbClr val="547EBF"/>
          </p15:clr>
        </p15:guide>
        <p15:guide id="4" pos="243">
          <p15:clr>
            <a:srgbClr val="547EBF"/>
          </p15:clr>
        </p15:guide>
        <p15:guide id="5" pos="7083">
          <p15:clr>
            <a:srgbClr val="547EBF"/>
          </p15:clr>
        </p15:guide>
        <p15:guide id="6" orient="horz" pos="273">
          <p15:clr>
            <a:srgbClr val="547EBF"/>
          </p15:clr>
        </p15:guide>
        <p15:guide id="7" orient="horz" pos="509">
          <p15:clr>
            <a:srgbClr val="547EBF"/>
          </p15:clr>
        </p15:guide>
        <p15:guide id="8" orient="horz" pos="745">
          <p15:clr>
            <a:srgbClr val="547EBF"/>
          </p15:clr>
        </p15:guide>
        <p15:guide id="9" orient="horz" pos="863">
          <p15:clr>
            <a:srgbClr val="547EBF"/>
          </p15:clr>
        </p15:guide>
        <p15:guide id="10" orient="horz" pos="3958">
          <p15:clr>
            <a:srgbClr val="547EBF"/>
          </p15:clr>
        </p15:guide>
        <p15:guide id="11" orient="horz" pos="2809">
          <p15:clr>
            <a:srgbClr val="547EBF"/>
          </p15:clr>
        </p15:guide>
        <p15:guide id="12" orient="horz" pos="2926">
          <p15:clr>
            <a:srgbClr val="547EBF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237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C31B13F-62D2-42B8-A68D-203BB59F18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45DC443F-D5F0-4B85-B2C1-3A4667FC9D7A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October 24, 2023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C909442-E2B8-4A8B-AA29-571D780EA7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3551B03-B8BB-45BD-8DD9-CBBFCA639B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0603353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3811">
          <p15:clr>
            <a:srgbClr val="547EBF"/>
          </p15:clr>
        </p15:guide>
        <p15:guide id="7" orient="horz" pos="3958">
          <p15:clr>
            <a:srgbClr val="547EBF"/>
          </p15:clr>
        </p15:guide>
        <p15:guide id="8" pos="243">
          <p15:clr>
            <a:srgbClr val="547EBF"/>
          </p15:clr>
        </p15:guide>
        <p15:guide id="9" pos="7083">
          <p15:clr>
            <a:srgbClr val="547EBF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A46804C-5EB1-4AB4-807F-4F6195643A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724BFB57-36D4-4F2E-ADB1-F2B6DE0714C7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October 24, 2023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E68B026-5796-452E-9BB7-1A7F9A8222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97DA69B-C02D-4615-B1EC-D5BA88E018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4059963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3811">
          <p15:clr>
            <a:srgbClr val="547EBF"/>
          </p15:clr>
        </p15:guide>
        <p15:guide id="7" orient="horz" pos="3958">
          <p15:clr>
            <a:srgbClr val="547EBF"/>
          </p15:clr>
        </p15:guide>
        <p15:guide id="8" pos="7083">
          <p15:clr>
            <a:srgbClr val="547EBF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 slide &#10;client logo" preserve="1" userDrawn="1">
  <p:cSld name="End slide client logo">
    <p:bg>
      <p:bgPr>
        <a:gradFill>
          <a:gsLst>
            <a:gs pos="99000">
              <a:srgbClr val="00A3E0"/>
            </a:gs>
            <a:gs pos="1000">
              <a:srgbClr val="10069F"/>
            </a:gs>
          </a:gsLst>
          <a:lin ang="906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46" name="Hide background Logo">
            <a:extLst>
              <a:ext uri="{FF2B5EF4-FFF2-40B4-BE49-F238E27FC236}">
                <a16:creationId xmlns:a16="http://schemas.microsoft.com/office/drawing/2014/main" id="{0BBDE0D9-3500-40C6-BF15-2E5F5937AA29}"/>
              </a:ext>
            </a:extLst>
          </p:cNvPr>
          <p:cNvSpPr/>
          <p:nvPr userDrawn="1"/>
        </p:nvSpPr>
        <p:spPr>
          <a:xfrm>
            <a:off x="339600" y="6471000"/>
            <a:ext cx="748800" cy="2808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42" name="Grid Decoration">
            <a:extLst>
              <a:ext uri="{FF2B5EF4-FFF2-40B4-BE49-F238E27FC236}">
                <a16:creationId xmlns:a16="http://schemas.microsoft.com/office/drawing/2014/main" id="{8F70B469-5ED5-4570-8D58-BA071F46B914}"/>
              </a:ext>
            </a:extLst>
          </p:cNvPr>
          <p:cNvGrpSpPr/>
          <p:nvPr/>
        </p:nvGrpSpPr>
        <p:grpSpPr bwMode="ltGray">
          <a:xfrm flipH="1">
            <a:off x="0" y="0"/>
            <a:ext cx="12192000" cy="6858000"/>
            <a:chOff x="1200" y="-446400"/>
            <a:chExt cx="12192000" cy="6858000"/>
          </a:xfrm>
        </p:grpSpPr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D60ADC78-9949-4FBB-A175-E501ED9162FB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9186000" y="-44640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FBB44016-66B0-4E2E-BCED-C9CE40DE18C8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9934800" y="-44640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1B955A00-9F62-4DD8-A095-D8BF428B101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10683600" y="-44640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AF2CC4B7-89C1-4B8A-BC0D-231CC2EA6BD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11432400" y="-446400"/>
              <a:ext cx="0" cy="68580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851C1756-0D22-4BF0-97A1-FBE27C9E8B5B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7688400" y="455400"/>
              <a:ext cx="45048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0DBE7224-2A0D-4F58-A43F-748C3E4ECD0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7688400" y="1391400"/>
              <a:ext cx="45048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7EDC6495-C889-47B6-9B12-993370440A8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3944400" y="2326960"/>
              <a:ext cx="0" cy="408464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5246DF58-B7B0-456A-9F6A-B6A271823058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8437200" y="-44596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E40FD560-CBED-401C-9A39-15B1E50E0BA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7688400" y="-445520"/>
              <a:ext cx="0" cy="685712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303795F4-52D0-485C-8912-D428ADACEAF7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200" y="2327400"/>
              <a:ext cx="121920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Text Placeholder">
            <a:extLst>
              <a:ext uri="{FF2B5EF4-FFF2-40B4-BE49-F238E27FC236}">
                <a16:creationId xmlns:a16="http://schemas.microsoft.com/office/drawing/2014/main" id="{69DD162C-D02B-4608-B9D0-D160456CEF8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35837" y="3007799"/>
            <a:ext cx="3006563" cy="3042163"/>
          </a:xfrm>
        </p:spPr>
        <p:txBody>
          <a:bodyPr/>
          <a:lstStyle>
            <a:lvl1pPr>
              <a:defRPr sz="5400" b="1" baseline="0">
                <a:solidFill>
                  <a:schemeClr val="bg1"/>
                </a:solidFill>
              </a:defRPr>
            </a:lvl1pPr>
            <a:lvl2pPr>
              <a:defRPr sz="5400" baseline="0">
                <a:solidFill>
                  <a:schemeClr val="bg1"/>
                </a:solidFill>
              </a:defRPr>
            </a:lvl2pPr>
            <a:lvl3pPr>
              <a:defRPr sz="5400" baseline="0">
                <a:solidFill>
                  <a:schemeClr val="bg1"/>
                </a:solidFill>
              </a:defRPr>
            </a:lvl3pPr>
            <a:lvl4pPr>
              <a:defRPr sz="5400" baseline="0">
                <a:solidFill>
                  <a:schemeClr val="bg1"/>
                </a:solidFill>
              </a:defRPr>
            </a:lvl4pPr>
            <a:lvl5pPr>
              <a:defRPr sz="540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hanks</a:t>
            </a:r>
          </a:p>
          <a:p>
            <a:pPr lvl="1"/>
            <a:endParaRPr lang="en-US" dirty="0"/>
          </a:p>
        </p:txBody>
      </p:sp>
      <p:grpSp>
        <p:nvGrpSpPr>
          <p:cNvPr id="72" name="Graphic 4907">
            <a:extLst>
              <a:ext uri="{FF2B5EF4-FFF2-40B4-BE49-F238E27FC236}">
                <a16:creationId xmlns:a16="http://schemas.microsoft.com/office/drawing/2014/main" id="{0D7CC600-8815-435E-BCE9-8962E8FE1634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black">
          <a:xfrm>
            <a:off x="8711708" y="3175577"/>
            <a:ext cx="332692" cy="465562"/>
            <a:chOff x="24624313" y="3946220"/>
            <a:chExt cx="1065476" cy="1490999"/>
          </a:xfrm>
          <a:solidFill>
            <a:srgbClr val="FFFFFF"/>
          </a:solidFill>
        </p:grpSpPr>
        <p:sp>
          <p:nvSpPr>
            <p:cNvPr id="73" name="Vrije vorm: vorm 4910">
              <a:extLst>
                <a:ext uri="{FF2B5EF4-FFF2-40B4-BE49-F238E27FC236}">
                  <a16:creationId xmlns:a16="http://schemas.microsoft.com/office/drawing/2014/main" id="{4667D4C7-677C-4A3A-B4D1-47086372E6E5}"/>
                </a:ext>
              </a:extLst>
            </p:cNvPr>
            <p:cNvSpPr/>
            <p:nvPr/>
          </p:nvSpPr>
          <p:spPr bwMode="black">
            <a:xfrm>
              <a:off x="24624313" y="3946220"/>
              <a:ext cx="1065476" cy="1490999"/>
            </a:xfrm>
            <a:custGeom>
              <a:avLst/>
              <a:gdLst>
                <a:gd name="connsiteX0" fmla="*/ 967708 w 1065476"/>
                <a:gd name="connsiteY0" fmla="*/ 192139 h 1490999"/>
                <a:gd name="connsiteX1" fmla="*/ 533474 w 1065476"/>
                <a:gd name="connsiteY1" fmla="*/ 0 h 1490999"/>
                <a:gd name="connsiteX2" fmla="*/ 99239 w 1065476"/>
                <a:gd name="connsiteY2" fmla="*/ 192139 h 1490999"/>
                <a:gd name="connsiteX3" fmla="*/ 7012 w 1065476"/>
                <a:gd name="connsiteY3" fmla="*/ 534147 h 1490999"/>
                <a:gd name="connsiteX4" fmla="*/ 506574 w 1065476"/>
                <a:gd name="connsiteY4" fmla="*/ 1452571 h 1490999"/>
                <a:gd name="connsiteX5" fmla="*/ 533474 w 1065476"/>
                <a:gd name="connsiteY5" fmla="*/ 1490999 h 1490999"/>
                <a:gd name="connsiteX6" fmla="*/ 560373 w 1065476"/>
                <a:gd name="connsiteY6" fmla="*/ 1452571 h 1490999"/>
                <a:gd name="connsiteX7" fmla="*/ 1059934 w 1065476"/>
                <a:gd name="connsiteY7" fmla="*/ 534147 h 1490999"/>
                <a:gd name="connsiteX8" fmla="*/ 967708 w 1065476"/>
                <a:gd name="connsiteY8" fmla="*/ 192139 h 1490999"/>
                <a:gd name="connsiteX9" fmla="*/ 994608 w 1065476"/>
                <a:gd name="connsiteY9" fmla="*/ 522618 h 1490999"/>
                <a:gd name="connsiteX10" fmla="*/ 529631 w 1065476"/>
                <a:gd name="connsiteY10" fmla="*/ 1379559 h 1490999"/>
                <a:gd name="connsiteX11" fmla="*/ 68497 w 1065476"/>
                <a:gd name="connsiteY11" fmla="*/ 522618 h 1490999"/>
                <a:gd name="connsiteX12" fmla="*/ 145353 w 1065476"/>
                <a:gd name="connsiteY12" fmla="*/ 230567 h 1490999"/>
                <a:gd name="connsiteX13" fmla="*/ 529631 w 1065476"/>
                <a:gd name="connsiteY13" fmla="*/ 57642 h 1490999"/>
                <a:gd name="connsiteX14" fmla="*/ 913909 w 1065476"/>
                <a:gd name="connsiteY14" fmla="*/ 230567 h 1490999"/>
                <a:gd name="connsiteX15" fmla="*/ 994608 w 1065476"/>
                <a:gd name="connsiteY15" fmla="*/ 522618 h 1490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065476" h="1490999">
                  <a:moveTo>
                    <a:pt x="967708" y="192139"/>
                  </a:moveTo>
                  <a:cubicBezTo>
                    <a:pt x="867795" y="73013"/>
                    <a:pt x="702556" y="0"/>
                    <a:pt x="533474" y="0"/>
                  </a:cubicBezTo>
                  <a:cubicBezTo>
                    <a:pt x="364390" y="0"/>
                    <a:pt x="199151" y="73013"/>
                    <a:pt x="99239" y="192139"/>
                  </a:cubicBezTo>
                  <a:cubicBezTo>
                    <a:pt x="18540" y="292051"/>
                    <a:pt x="-16045" y="411178"/>
                    <a:pt x="7012" y="534147"/>
                  </a:cubicBezTo>
                  <a:cubicBezTo>
                    <a:pt x="49283" y="757028"/>
                    <a:pt x="487360" y="1425672"/>
                    <a:pt x="506574" y="1452571"/>
                  </a:cubicBezTo>
                  <a:lnTo>
                    <a:pt x="533474" y="1490999"/>
                  </a:lnTo>
                  <a:lnTo>
                    <a:pt x="560373" y="1452571"/>
                  </a:lnTo>
                  <a:cubicBezTo>
                    <a:pt x="579586" y="1421829"/>
                    <a:pt x="1021506" y="745500"/>
                    <a:pt x="1059934" y="534147"/>
                  </a:cubicBezTo>
                  <a:cubicBezTo>
                    <a:pt x="1079148" y="407335"/>
                    <a:pt x="1048406" y="288209"/>
                    <a:pt x="967708" y="192139"/>
                  </a:cubicBezTo>
                  <a:moveTo>
                    <a:pt x="994608" y="522618"/>
                  </a:moveTo>
                  <a:cubicBezTo>
                    <a:pt x="963865" y="691701"/>
                    <a:pt x="629543" y="1225847"/>
                    <a:pt x="529631" y="1379559"/>
                  </a:cubicBezTo>
                  <a:cubicBezTo>
                    <a:pt x="433561" y="1229690"/>
                    <a:pt x="99239" y="703229"/>
                    <a:pt x="68497" y="522618"/>
                  </a:cubicBezTo>
                  <a:cubicBezTo>
                    <a:pt x="45440" y="388121"/>
                    <a:pt x="95396" y="288209"/>
                    <a:pt x="145353" y="230567"/>
                  </a:cubicBezTo>
                  <a:cubicBezTo>
                    <a:pt x="233736" y="126812"/>
                    <a:pt x="379763" y="57642"/>
                    <a:pt x="529631" y="57642"/>
                  </a:cubicBezTo>
                  <a:cubicBezTo>
                    <a:pt x="679499" y="57642"/>
                    <a:pt x="825524" y="122969"/>
                    <a:pt x="913909" y="230567"/>
                  </a:cubicBezTo>
                  <a:cubicBezTo>
                    <a:pt x="967708" y="288209"/>
                    <a:pt x="1021506" y="388121"/>
                    <a:pt x="994608" y="522618"/>
                  </a:cubicBezTo>
                </a:path>
              </a:pathLst>
            </a:custGeom>
            <a:solidFill>
              <a:srgbClr val="FFFFFF"/>
            </a:solidFill>
            <a:ln w="384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baseline="0">
                <a:solidFill>
                  <a:schemeClr val="bg1"/>
                </a:solidFill>
              </a:endParaRPr>
            </a:p>
          </p:txBody>
        </p:sp>
        <p:sp>
          <p:nvSpPr>
            <p:cNvPr id="74" name="Vrije vorm: vorm 4911">
              <a:extLst>
                <a:ext uri="{FF2B5EF4-FFF2-40B4-BE49-F238E27FC236}">
                  <a16:creationId xmlns:a16="http://schemas.microsoft.com/office/drawing/2014/main" id="{C2ECB4BC-FB15-4050-BA3E-C622768A7418}"/>
                </a:ext>
              </a:extLst>
            </p:cNvPr>
            <p:cNvSpPr/>
            <p:nvPr/>
          </p:nvSpPr>
          <p:spPr bwMode="black">
            <a:xfrm>
              <a:off x="24877263" y="4161416"/>
              <a:ext cx="561046" cy="561046"/>
            </a:xfrm>
            <a:custGeom>
              <a:avLst/>
              <a:gdLst>
                <a:gd name="connsiteX0" fmla="*/ 280524 w 561046"/>
                <a:gd name="connsiteY0" fmla="*/ 0 h 561046"/>
                <a:gd name="connsiteX1" fmla="*/ 0 w 561046"/>
                <a:gd name="connsiteY1" fmla="*/ 280523 h 561046"/>
                <a:gd name="connsiteX2" fmla="*/ 280524 w 561046"/>
                <a:gd name="connsiteY2" fmla="*/ 561046 h 561046"/>
                <a:gd name="connsiteX3" fmla="*/ 280524 w 561046"/>
                <a:gd name="connsiteY3" fmla="*/ 499562 h 561046"/>
                <a:gd name="connsiteX4" fmla="*/ 61485 w 561046"/>
                <a:gd name="connsiteY4" fmla="*/ 280523 h 561046"/>
                <a:gd name="connsiteX5" fmla="*/ 280524 w 561046"/>
                <a:gd name="connsiteY5" fmla="*/ 61484 h 561046"/>
                <a:gd name="connsiteX6" fmla="*/ 499562 w 561046"/>
                <a:gd name="connsiteY6" fmla="*/ 280523 h 561046"/>
                <a:gd name="connsiteX7" fmla="*/ 561046 w 561046"/>
                <a:gd name="connsiteY7" fmla="*/ 280523 h 561046"/>
                <a:gd name="connsiteX8" fmla="*/ 280524 w 561046"/>
                <a:gd name="connsiteY8" fmla="*/ 0 h 561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1046" h="561046">
                  <a:moveTo>
                    <a:pt x="280524" y="0"/>
                  </a:moveTo>
                  <a:cubicBezTo>
                    <a:pt x="122969" y="0"/>
                    <a:pt x="0" y="122969"/>
                    <a:pt x="0" y="280523"/>
                  </a:cubicBezTo>
                  <a:cubicBezTo>
                    <a:pt x="0" y="438077"/>
                    <a:pt x="122969" y="561046"/>
                    <a:pt x="280524" y="561046"/>
                  </a:cubicBezTo>
                  <a:lnTo>
                    <a:pt x="280524" y="499562"/>
                  </a:lnTo>
                  <a:cubicBezTo>
                    <a:pt x="157554" y="499562"/>
                    <a:pt x="61485" y="403492"/>
                    <a:pt x="61485" y="280523"/>
                  </a:cubicBezTo>
                  <a:cubicBezTo>
                    <a:pt x="61485" y="157554"/>
                    <a:pt x="157554" y="61484"/>
                    <a:pt x="280524" y="61484"/>
                  </a:cubicBezTo>
                  <a:cubicBezTo>
                    <a:pt x="403492" y="61484"/>
                    <a:pt x="499562" y="157554"/>
                    <a:pt x="499562" y="280523"/>
                  </a:cubicBezTo>
                  <a:lnTo>
                    <a:pt x="561046" y="280523"/>
                  </a:lnTo>
                  <a:cubicBezTo>
                    <a:pt x="561046" y="122969"/>
                    <a:pt x="438077" y="0"/>
                    <a:pt x="280524" y="0"/>
                  </a:cubicBezTo>
                </a:path>
              </a:pathLst>
            </a:custGeom>
            <a:solidFill>
              <a:srgbClr val="FFFFFF"/>
            </a:solidFill>
            <a:ln w="384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baseline="0">
                <a:solidFill>
                  <a:schemeClr val="bg1"/>
                </a:solidFill>
              </a:endParaRPr>
            </a:p>
          </p:txBody>
        </p:sp>
      </p:grpSp>
      <p:grpSp>
        <p:nvGrpSpPr>
          <p:cNvPr id="75" name="Graphic 4907">
            <a:extLst>
              <a:ext uri="{FF2B5EF4-FFF2-40B4-BE49-F238E27FC236}">
                <a16:creationId xmlns:a16="http://schemas.microsoft.com/office/drawing/2014/main" id="{0272150B-3831-463C-86BB-43F6D1C0DDBB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black">
          <a:xfrm>
            <a:off x="4967227" y="3167263"/>
            <a:ext cx="379973" cy="465563"/>
            <a:chOff x="8107365" y="4049975"/>
            <a:chExt cx="1125934" cy="1379558"/>
          </a:xfrm>
          <a:solidFill>
            <a:srgbClr val="FFFFFF"/>
          </a:solidFill>
        </p:grpSpPr>
        <p:sp>
          <p:nvSpPr>
            <p:cNvPr id="76" name="Vrije vorm: vorm 4913">
              <a:extLst>
                <a:ext uri="{FF2B5EF4-FFF2-40B4-BE49-F238E27FC236}">
                  <a16:creationId xmlns:a16="http://schemas.microsoft.com/office/drawing/2014/main" id="{525D3F68-269D-483A-AEB4-A69651138227}"/>
                </a:ext>
              </a:extLst>
            </p:cNvPr>
            <p:cNvSpPr/>
            <p:nvPr/>
          </p:nvSpPr>
          <p:spPr bwMode="black">
            <a:xfrm>
              <a:off x="8295662" y="4049975"/>
              <a:ext cx="753185" cy="753185"/>
            </a:xfrm>
            <a:custGeom>
              <a:avLst/>
              <a:gdLst>
                <a:gd name="connsiteX0" fmla="*/ 376593 w 753185"/>
                <a:gd name="connsiteY0" fmla="*/ 753185 h 753185"/>
                <a:gd name="connsiteX1" fmla="*/ 0 w 753185"/>
                <a:gd name="connsiteY1" fmla="*/ 376593 h 753185"/>
                <a:gd name="connsiteX2" fmla="*/ 376593 w 753185"/>
                <a:gd name="connsiteY2" fmla="*/ 0 h 753185"/>
                <a:gd name="connsiteX3" fmla="*/ 753185 w 753185"/>
                <a:gd name="connsiteY3" fmla="*/ 376593 h 753185"/>
                <a:gd name="connsiteX4" fmla="*/ 376593 w 753185"/>
                <a:gd name="connsiteY4" fmla="*/ 753185 h 753185"/>
                <a:gd name="connsiteX5" fmla="*/ 376593 w 753185"/>
                <a:gd name="connsiteY5" fmla="*/ 65327 h 753185"/>
                <a:gd name="connsiteX6" fmla="*/ 65327 w 753185"/>
                <a:gd name="connsiteY6" fmla="*/ 376593 h 753185"/>
                <a:gd name="connsiteX7" fmla="*/ 376593 w 753185"/>
                <a:gd name="connsiteY7" fmla="*/ 687858 h 753185"/>
                <a:gd name="connsiteX8" fmla="*/ 687858 w 753185"/>
                <a:gd name="connsiteY8" fmla="*/ 376593 h 753185"/>
                <a:gd name="connsiteX9" fmla="*/ 376593 w 753185"/>
                <a:gd name="connsiteY9" fmla="*/ 65327 h 7531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53185" h="753185">
                  <a:moveTo>
                    <a:pt x="376593" y="753185"/>
                  </a:moveTo>
                  <a:cubicBezTo>
                    <a:pt x="169082" y="753185"/>
                    <a:pt x="0" y="584103"/>
                    <a:pt x="0" y="376593"/>
                  </a:cubicBezTo>
                  <a:cubicBezTo>
                    <a:pt x="0" y="169082"/>
                    <a:pt x="169082" y="0"/>
                    <a:pt x="376593" y="0"/>
                  </a:cubicBezTo>
                  <a:cubicBezTo>
                    <a:pt x="584103" y="0"/>
                    <a:pt x="753185" y="169082"/>
                    <a:pt x="753185" y="376593"/>
                  </a:cubicBezTo>
                  <a:cubicBezTo>
                    <a:pt x="753185" y="584103"/>
                    <a:pt x="584103" y="753185"/>
                    <a:pt x="376593" y="753185"/>
                  </a:cubicBezTo>
                  <a:moveTo>
                    <a:pt x="376593" y="65327"/>
                  </a:moveTo>
                  <a:cubicBezTo>
                    <a:pt x="203667" y="65327"/>
                    <a:pt x="65327" y="207510"/>
                    <a:pt x="65327" y="376593"/>
                  </a:cubicBezTo>
                  <a:cubicBezTo>
                    <a:pt x="65327" y="549518"/>
                    <a:pt x="207510" y="687858"/>
                    <a:pt x="376593" y="687858"/>
                  </a:cubicBezTo>
                  <a:cubicBezTo>
                    <a:pt x="545675" y="687858"/>
                    <a:pt x="687858" y="545675"/>
                    <a:pt x="687858" y="376593"/>
                  </a:cubicBezTo>
                  <a:cubicBezTo>
                    <a:pt x="687858" y="207510"/>
                    <a:pt x="549518" y="65327"/>
                    <a:pt x="376593" y="65327"/>
                  </a:cubicBezTo>
                </a:path>
              </a:pathLst>
            </a:custGeom>
            <a:solidFill>
              <a:srgbClr val="FFFFFF"/>
            </a:solidFill>
            <a:ln w="384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77" name="Vrije vorm: vorm 4914">
              <a:extLst>
                <a:ext uri="{FF2B5EF4-FFF2-40B4-BE49-F238E27FC236}">
                  <a16:creationId xmlns:a16="http://schemas.microsoft.com/office/drawing/2014/main" id="{092ED77B-CF3B-48EB-A6B1-DDB90A2417D2}"/>
                </a:ext>
              </a:extLst>
            </p:cNvPr>
            <p:cNvSpPr/>
            <p:nvPr/>
          </p:nvSpPr>
          <p:spPr bwMode="black">
            <a:xfrm>
              <a:off x="8107365" y="4868487"/>
              <a:ext cx="1125934" cy="561046"/>
            </a:xfrm>
            <a:custGeom>
              <a:avLst/>
              <a:gdLst>
                <a:gd name="connsiteX0" fmla="*/ 1125935 w 1125934"/>
                <a:gd name="connsiteY0" fmla="*/ 561046 h 561046"/>
                <a:gd name="connsiteX1" fmla="*/ 1064451 w 1125934"/>
                <a:gd name="connsiteY1" fmla="*/ 561046 h 561046"/>
                <a:gd name="connsiteX2" fmla="*/ 1064451 w 1125934"/>
                <a:gd name="connsiteY2" fmla="*/ 61484 h 561046"/>
                <a:gd name="connsiteX3" fmla="*/ 61485 w 1125934"/>
                <a:gd name="connsiteY3" fmla="*/ 61484 h 561046"/>
                <a:gd name="connsiteX4" fmla="*/ 61485 w 1125934"/>
                <a:gd name="connsiteY4" fmla="*/ 561046 h 561046"/>
                <a:gd name="connsiteX5" fmla="*/ 0 w 1125934"/>
                <a:gd name="connsiteY5" fmla="*/ 561046 h 561046"/>
                <a:gd name="connsiteX6" fmla="*/ 0 w 1125934"/>
                <a:gd name="connsiteY6" fmla="*/ 0 h 561046"/>
                <a:gd name="connsiteX7" fmla="*/ 1125935 w 1125934"/>
                <a:gd name="connsiteY7" fmla="*/ 0 h 561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25934" h="561046">
                  <a:moveTo>
                    <a:pt x="1125935" y="561046"/>
                  </a:moveTo>
                  <a:lnTo>
                    <a:pt x="1064451" y="561046"/>
                  </a:lnTo>
                  <a:lnTo>
                    <a:pt x="1064451" y="61484"/>
                  </a:lnTo>
                  <a:lnTo>
                    <a:pt x="61485" y="61484"/>
                  </a:lnTo>
                  <a:lnTo>
                    <a:pt x="61485" y="561046"/>
                  </a:lnTo>
                  <a:lnTo>
                    <a:pt x="0" y="561046"/>
                  </a:lnTo>
                  <a:lnTo>
                    <a:pt x="0" y="0"/>
                  </a:lnTo>
                  <a:lnTo>
                    <a:pt x="1125935" y="0"/>
                  </a:lnTo>
                  <a:close/>
                </a:path>
              </a:pathLst>
            </a:custGeom>
            <a:solidFill>
              <a:srgbClr val="FFFFFF"/>
            </a:solidFill>
            <a:ln w="384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</p:grp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4755EAD4-1AE9-430D-9195-B1BDBCDB9274}"/>
              </a:ext>
            </a:extLst>
          </p:cNvPr>
          <p:cNvCxnSpPr>
            <a:cxnSpLocks/>
          </p:cNvCxnSpPr>
          <p:nvPr/>
        </p:nvCxnSpPr>
        <p:spPr>
          <a:xfrm>
            <a:off x="9682933" y="246600"/>
            <a:ext cx="0" cy="8424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MIO_AGENDA_IGNORE_NAVIGATION" hidden="1">
            <a:extLst>
              <a:ext uri="{FF2B5EF4-FFF2-40B4-BE49-F238E27FC236}">
                <a16:creationId xmlns:a16="http://schemas.microsoft.com/office/drawing/2014/main" id="{FCE8ADEB-72DC-48DB-8B77-3DC4FB918EEF}"/>
              </a:ext>
            </a:extLst>
          </p:cNvPr>
          <p:cNvSpPr/>
          <p:nvPr/>
        </p:nvSpPr>
        <p:spPr>
          <a:xfrm>
            <a:off x="11804960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4" name="MIO_AGENDA_IGNORE_CHAPTER_REFERENCE" hidden="1">
            <a:extLst>
              <a:ext uri="{FF2B5EF4-FFF2-40B4-BE49-F238E27FC236}">
                <a16:creationId xmlns:a16="http://schemas.microsoft.com/office/drawing/2014/main" id="{976887AB-5E0A-471B-AFAF-4ACF6D30328F}"/>
              </a:ext>
            </a:extLst>
          </p:cNvPr>
          <p:cNvSpPr/>
          <p:nvPr/>
        </p:nvSpPr>
        <p:spPr>
          <a:xfrm>
            <a:off x="11517578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7" name="MIO_LOGOPLACEHOLDER#Closing" hidden="1">
            <a:extLst>
              <a:ext uri="{FF2B5EF4-FFF2-40B4-BE49-F238E27FC236}">
                <a16:creationId xmlns:a16="http://schemas.microsoft.com/office/drawing/2014/main" id="{2EA46382-E9B6-46AD-9356-4CE8C8139EB1}"/>
              </a:ext>
            </a:extLst>
          </p:cNvPr>
          <p:cNvSpPr/>
          <p:nvPr/>
        </p:nvSpPr>
        <p:spPr>
          <a:xfrm>
            <a:off x="11197200" y="115094"/>
            <a:ext cx="203200" cy="203200"/>
          </a:xfrm>
          <a:prstGeom prst="noSmoking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8" name="MIO_AGENDA_LAST_SLIDE" hidden="1">
            <a:extLst>
              <a:ext uri="{FF2B5EF4-FFF2-40B4-BE49-F238E27FC236}">
                <a16:creationId xmlns:a16="http://schemas.microsoft.com/office/drawing/2014/main" id="{A5ACD32F-853B-4D82-9242-36FD6601B6D6}"/>
              </a:ext>
            </a:extLst>
          </p:cNvPr>
          <p:cNvSpPr/>
          <p:nvPr/>
        </p:nvSpPr>
        <p:spPr>
          <a:xfrm>
            <a:off x="10911760" y="115094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6" name="Logo">
            <a:extLst>
              <a:ext uri="{FF2B5EF4-FFF2-40B4-BE49-F238E27FC236}">
                <a16:creationId xmlns:a16="http://schemas.microsoft.com/office/drawing/2014/main" id="{0281FEA4-9F0E-4A52-BA2D-8F5C196B252E}"/>
              </a:ext>
            </a:extLst>
          </p:cNvPr>
          <p:cNvSpPr>
            <a:spLocks noChangeAspect="1"/>
          </p:cNvSpPr>
          <p:nvPr/>
        </p:nvSpPr>
        <p:spPr bwMode="black">
          <a:xfrm>
            <a:off x="10111908" y="433388"/>
            <a:ext cx="1694330" cy="468412"/>
          </a:xfrm>
          <a:custGeom>
            <a:avLst/>
            <a:gdLst>
              <a:gd name="connsiteX0" fmla="*/ 322580 w 2575560"/>
              <a:gd name="connsiteY0" fmla="*/ 171554 h 719869"/>
              <a:gd name="connsiteX1" fmla="*/ 261620 w 2575560"/>
              <a:gd name="connsiteY1" fmla="*/ 452224 h 719869"/>
              <a:gd name="connsiteX2" fmla="*/ 384810 w 2575560"/>
              <a:gd name="connsiteY2" fmla="*/ 452224 h 719869"/>
              <a:gd name="connsiteX3" fmla="*/ 941070 w 2575560"/>
              <a:gd name="connsiteY3" fmla="*/ 157584 h 719869"/>
              <a:gd name="connsiteX4" fmla="*/ 892810 w 2575560"/>
              <a:gd name="connsiteY4" fmla="*/ 212194 h 719869"/>
              <a:gd name="connsiteX5" fmla="*/ 998220 w 2575560"/>
              <a:gd name="connsiteY5" fmla="*/ 293474 h 719869"/>
              <a:gd name="connsiteX6" fmla="*/ 1195070 w 2575560"/>
              <a:gd name="connsiteY6" fmla="*/ 500484 h 719869"/>
              <a:gd name="connsiteX7" fmla="*/ 1009650 w 2575560"/>
              <a:gd name="connsiteY7" fmla="*/ 703684 h 719869"/>
              <a:gd name="connsiteX8" fmla="*/ 687070 w 2575560"/>
              <a:gd name="connsiteY8" fmla="*/ 671934 h 719869"/>
              <a:gd name="connsiteX9" fmla="*/ 687070 w 2575560"/>
              <a:gd name="connsiteY9" fmla="*/ 506834 h 719869"/>
              <a:gd name="connsiteX10" fmla="*/ 876300 w 2575560"/>
              <a:gd name="connsiteY10" fmla="*/ 577954 h 719869"/>
              <a:gd name="connsiteX11" fmla="*/ 981710 w 2575560"/>
              <a:gd name="connsiteY11" fmla="*/ 500484 h 719869"/>
              <a:gd name="connsiteX12" fmla="*/ 909320 w 2575560"/>
              <a:gd name="connsiteY12" fmla="*/ 420474 h 719869"/>
              <a:gd name="connsiteX13" fmla="*/ 941070 w 2575560"/>
              <a:gd name="connsiteY13" fmla="*/ 157584 h 719869"/>
              <a:gd name="connsiteX14" fmla="*/ 2136140 w 2575560"/>
              <a:gd name="connsiteY14" fmla="*/ 20424 h 719869"/>
              <a:gd name="connsiteX15" fmla="*/ 2321560 w 2575560"/>
              <a:gd name="connsiteY15" fmla="*/ 20424 h 719869"/>
              <a:gd name="connsiteX16" fmla="*/ 2321560 w 2575560"/>
              <a:gd name="connsiteY16" fmla="*/ 562714 h 719869"/>
              <a:gd name="connsiteX17" fmla="*/ 2575560 w 2575560"/>
              <a:gd name="connsiteY17" fmla="*/ 562714 h 719869"/>
              <a:gd name="connsiteX18" fmla="*/ 2575560 w 2575560"/>
              <a:gd name="connsiteY18" fmla="*/ 706224 h 719869"/>
              <a:gd name="connsiteX19" fmla="*/ 2136140 w 2575560"/>
              <a:gd name="connsiteY19" fmla="*/ 706224 h 719869"/>
              <a:gd name="connsiteX20" fmla="*/ 1346200 w 2575560"/>
              <a:gd name="connsiteY20" fmla="*/ 20424 h 719869"/>
              <a:gd name="connsiteX21" fmla="*/ 1551940 w 2575560"/>
              <a:gd name="connsiteY21" fmla="*/ 20424 h 719869"/>
              <a:gd name="connsiteX22" fmla="*/ 1648460 w 2575560"/>
              <a:gd name="connsiteY22" fmla="*/ 431904 h 719869"/>
              <a:gd name="connsiteX23" fmla="*/ 1743710 w 2575560"/>
              <a:gd name="connsiteY23" fmla="*/ 20424 h 719869"/>
              <a:gd name="connsiteX24" fmla="*/ 1950720 w 2575560"/>
              <a:gd name="connsiteY24" fmla="*/ 20424 h 719869"/>
              <a:gd name="connsiteX25" fmla="*/ 2039620 w 2575560"/>
              <a:gd name="connsiteY25" fmla="*/ 706224 h 719869"/>
              <a:gd name="connsiteX26" fmla="*/ 1846580 w 2575560"/>
              <a:gd name="connsiteY26" fmla="*/ 706224 h 719869"/>
              <a:gd name="connsiteX27" fmla="*/ 1813560 w 2575560"/>
              <a:gd name="connsiteY27" fmla="*/ 274424 h 719869"/>
              <a:gd name="connsiteX28" fmla="*/ 1723390 w 2575560"/>
              <a:gd name="connsiteY28" fmla="*/ 706224 h 719869"/>
              <a:gd name="connsiteX29" fmla="*/ 1572260 w 2575560"/>
              <a:gd name="connsiteY29" fmla="*/ 706224 h 719869"/>
              <a:gd name="connsiteX30" fmla="*/ 1483360 w 2575560"/>
              <a:gd name="connsiteY30" fmla="*/ 274424 h 719869"/>
              <a:gd name="connsiteX31" fmla="*/ 1449070 w 2575560"/>
              <a:gd name="connsiteY31" fmla="*/ 706224 h 719869"/>
              <a:gd name="connsiteX32" fmla="*/ 1257300 w 2575560"/>
              <a:gd name="connsiteY32" fmla="*/ 706224 h 719869"/>
              <a:gd name="connsiteX33" fmla="*/ 205740 w 2575560"/>
              <a:gd name="connsiteY33" fmla="*/ 20424 h 719869"/>
              <a:gd name="connsiteX34" fmla="*/ 439420 w 2575560"/>
              <a:gd name="connsiteY34" fmla="*/ 20424 h 719869"/>
              <a:gd name="connsiteX35" fmla="*/ 645160 w 2575560"/>
              <a:gd name="connsiteY35" fmla="*/ 706224 h 719869"/>
              <a:gd name="connsiteX36" fmla="*/ 439420 w 2575560"/>
              <a:gd name="connsiteY36" fmla="*/ 706224 h 719869"/>
              <a:gd name="connsiteX37" fmla="*/ 411480 w 2575560"/>
              <a:gd name="connsiteY37" fmla="*/ 583034 h 719869"/>
              <a:gd name="connsiteX38" fmla="*/ 232410 w 2575560"/>
              <a:gd name="connsiteY38" fmla="*/ 583034 h 719869"/>
              <a:gd name="connsiteX39" fmla="*/ 204470 w 2575560"/>
              <a:gd name="connsiteY39" fmla="*/ 706224 h 719869"/>
              <a:gd name="connsiteX40" fmla="*/ 0 w 2575560"/>
              <a:gd name="connsiteY40" fmla="*/ 706224 h 719869"/>
              <a:gd name="connsiteX41" fmla="*/ 994112 w 2575560"/>
              <a:gd name="connsiteY41" fmla="*/ 422 h 719869"/>
              <a:gd name="connsiteX42" fmla="*/ 1140459 w 2575560"/>
              <a:gd name="connsiteY42" fmla="*/ 34395 h 719869"/>
              <a:gd name="connsiteX43" fmla="*/ 1140459 w 2575560"/>
              <a:gd name="connsiteY43" fmla="*/ 212195 h 719869"/>
              <a:gd name="connsiteX44" fmla="*/ 701040 w 2575560"/>
              <a:gd name="connsiteY44" fmla="*/ 260455 h 719869"/>
              <a:gd name="connsiteX45" fmla="*/ 994112 w 2575560"/>
              <a:gd name="connsiteY45" fmla="*/ 422 h 7198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2575560" h="719869">
                <a:moveTo>
                  <a:pt x="322580" y="171554"/>
                </a:moveTo>
                <a:lnTo>
                  <a:pt x="261620" y="452224"/>
                </a:lnTo>
                <a:lnTo>
                  <a:pt x="384810" y="452224"/>
                </a:lnTo>
                <a:close/>
                <a:moveTo>
                  <a:pt x="941070" y="157584"/>
                </a:moveTo>
                <a:cubicBezTo>
                  <a:pt x="900430" y="170284"/>
                  <a:pt x="892810" y="191874"/>
                  <a:pt x="892810" y="212194"/>
                </a:cubicBezTo>
                <a:cubicBezTo>
                  <a:pt x="892810" y="261724"/>
                  <a:pt x="955040" y="276964"/>
                  <a:pt x="998220" y="293474"/>
                </a:cubicBezTo>
                <a:cubicBezTo>
                  <a:pt x="1069340" y="320144"/>
                  <a:pt x="1195070" y="355704"/>
                  <a:pt x="1195070" y="500484"/>
                </a:cubicBezTo>
                <a:cubicBezTo>
                  <a:pt x="1195070" y="589384"/>
                  <a:pt x="1109980" y="673204"/>
                  <a:pt x="1009650" y="703684"/>
                </a:cubicBezTo>
                <a:cubicBezTo>
                  <a:pt x="885190" y="741784"/>
                  <a:pt x="763270" y="704954"/>
                  <a:pt x="687070" y="671934"/>
                </a:cubicBezTo>
                <a:lnTo>
                  <a:pt x="687070" y="506834"/>
                </a:lnTo>
                <a:cubicBezTo>
                  <a:pt x="750570" y="552554"/>
                  <a:pt x="806450" y="576684"/>
                  <a:pt x="876300" y="577954"/>
                </a:cubicBezTo>
                <a:cubicBezTo>
                  <a:pt x="918210" y="579224"/>
                  <a:pt x="981710" y="558904"/>
                  <a:pt x="981710" y="500484"/>
                </a:cubicBezTo>
                <a:cubicBezTo>
                  <a:pt x="981710" y="449684"/>
                  <a:pt x="935990" y="434444"/>
                  <a:pt x="909320" y="420474"/>
                </a:cubicBezTo>
                <a:cubicBezTo>
                  <a:pt x="758190" y="337924"/>
                  <a:pt x="803910" y="171554"/>
                  <a:pt x="941070" y="157584"/>
                </a:cubicBezTo>
                <a:close/>
                <a:moveTo>
                  <a:pt x="2136140" y="20424"/>
                </a:moveTo>
                <a:lnTo>
                  <a:pt x="2321560" y="20424"/>
                </a:lnTo>
                <a:lnTo>
                  <a:pt x="2321560" y="562714"/>
                </a:lnTo>
                <a:lnTo>
                  <a:pt x="2575560" y="562714"/>
                </a:lnTo>
                <a:lnTo>
                  <a:pt x="2575560" y="706224"/>
                </a:lnTo>
                <a:lnTo>
                  <a:pt x="2136140" y="706224"/>
                </a:lnTo>
                <a:close/>
                <a:moveTo>
                  <a:pt x="1346200" y="20424"/>
                </a:moveTo>
                <a:lnTo>
                  <a:pt x="1551940" y="20424"/>
                </a:lnTo>
                <a:lnTo>
                  <a:pt x="1648460" y="431904"/>
                </a:lnTo>
                <a:lnTo>
                  <a:pt x="1743710" y="20424"/>
                </a:lnTo>
                <a:lnTo>
                  <a:pt x="1950720" y="20424"/>
                </a:lnTo>
                <a:lnTo>
                  <a:pt x="2039620" y="706224"/>
                </a:lnTo>
                <a:lnTo>
                  <a:pt x="1846580" y="706224"/>
                </a:lnTo>
                <a:lnTo>
                  <a:pt x="1813560" y="274424"/>
                </a:lnTo>
                <a:lnTo>
                  <a:pt x="1723390" y="706224"/>
                </a:lnTo>
                <a:lnTo>
                  <a:pt x="1572260" y="706224"/>
                </a:lnTo>
                <a:lnTo>
                  <a:pt x="1483360" y="274424"/>
                </a:lnTo>
                <a:lnTo>
                  <a:pt x="1449070" y="706224"/>
                </a:lnTo>
                <a:lnTo>
                  <a:pt x="1257300" y="706224"/>
                </a:lnTo>
                <a:close/>
                <a:moveTo>
                  <a:pt x="205740" y="20424"/>
                </a:moveTo>
                <a:lnTo>
                  <a:pt x="439420" y="20424"/>
                </a:lnTo>
                <a:lnTo>
                  <a:pt x="645160" y="706224"/>
                </a:lnTo>
                <a:lnTo>
                  <a:pt x="439420" y="706224"/>
                </a:lnTo>
                <a:lnTo>
                  <a:pt x="411480" y="583034"/>
                </a:lnTo>
                <a:lnTo>
                  <a:pt x="232410" y="583034"/>
                </a:lnTo>
                <a:lnTo>
                  <a:pt x="204470" y="706224"/>
                </a:lnTo>
                <a:lnTo>
                  <a:pt x="0" y="706224"/>
                </a:lnTo>
                <a:close/>
                <a:moveTo>
                  <a:pt x="994112" y="422"/>
                </a:moveTo>
                <a:cubicBezTo>
                  <a:pt x="1046321" y="2724"/>
                  <a:pt x="1097597" y="14392"/>
                  <a:pt x="1140459" y="34395"/>
                </a:cubicBezTo>
                <a:cubicBezTo>
                  <a:pt x="1143000" y="75035"/>
                  <a:pt x="1146809" y="118215"/>
                  <a:pt x="1140459" y="212195"/>
                </a:cubicBezTo>
                <a:cubicBezTo>
                  <a:pt x="970280" y="63605"/>
                  <a:pt x="703580" y="123295"/>
                  <a:pt x="701040" y="260455"/>
                </a:cubicBezTo>
                <a:cubicBezTo>
                  <a:pt x="672465" y="70907"/>
                  <a:pt x="837486" y="-6483"/>
                  <a:pt x="994112" y="422"/>
                </a:cubicBezTo>
                <a:close/>
              </a:path>
            </a:pathLst>
          </a:custGeom>
          <a:solidFill>
            <a:srgbClr val="FFFFFF"/>
          </a:solidFill>
          <a:ln w="1270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Firstname Lastname">
            <a:extLst>
              <a:ext uri="{FF2B5EF4-FFF2-40B4-BE49-F238E27FC236}">
                <a16:creationId xmlns:a16="http://schemas.microsoft.com/office/drawing/2014/main" id="{3E9243FA-4C12-4776-9DDA-9DED5F4EE9A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64109" y="3314653"/>
            <a:ext cx="2310293" cy="175433"/>
          </a:xfrm>
        </p:spPr>
        <p:txBody>
          <a:bodyPr/>
          <a:lstStyle>
            <a:lvl1pPr>
              <a:defRPr sz="1200" b="1" i="0" baseline="0">
                <a:solidFill>
                  <a:schemeClr val="bg1"/>
                </a:solidFill>
              </a:defRPr>
            </a:lvl1pPr>
            <a:lvl2pPr>
              <a:defRPr sz="1200" baseline="0">
                <a:solidFill>
                  <a:schemeClr val="bg1"/>
                </a:solidFill>
              </a:defRPr>
            </a:lvl2pPr>
            <a:lvl3pPr>
              <a:defRPr sz="1200" baseline="0">
                <a:solidFill>
                  <a:schemeClr val="bg1"/>
                </a:solidFill>
              </a:defRPr>
            </a:lvl3pPr>
            <a:lvl4pPr>
              <a:defRPr sz="1200" baseline="0">
                <a:solidFill>
                  <a:schemeClr val="bg1"/>
                </a:solidFill>
              </a:defRPr>
            </a:lvl4pPr>
            <a:lvl5pPr>
              <a:defRPr sz="120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/>
              <a:t>Firstname</a:t>
            </a:r>
            <a:r>
              <a:rPr lang="en-US" dirty="0"/>
              <a:t> </a:t>
            </a:r>
            <a:r>
              <a:rPr lang="en-US" dirty="0" err="1"/>
              <a:t>Lastname</a:t>
            </a:r>
            <a:endParaRPr lang="en-US" dirty="0"/>
          </a:p>
        </p:txBody>
      </p:sp>
      <p:sp>
        <p:nvSpPr>
          <p:cNvPr id="39" name="Position and Title">
            <a:extLst>
              <a:ext uri="{FF2B5EF4-FFF2-40B4-BE49-F238E27FC236}">
                <a16:creationId xmlns:a16="http://schemas.microsoft.com/office/drawing/2014/main" id="{CDD47F99-A71C-4684-9C8A-757F62F4110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65751" y="3495097"/>
            <a:ext cx="2308247" cy="175433"/>
          </a:xfrm>
        </p:spPr>
        <p:txBody>
          <a:bodyPr/>
          <a:lstStyle>
            <a:lvl1pPr>
              <a:defRPr sz="1200" b="1" i="0" baseline="0">
                <a:solidFill>
                  <a:schemeClr val="bg1"/>
                </a:solidFill>
              </a:defRPr>
            </a:lvl1pPr>
            <a:lvl2pPr>
              <a:defRPr sz="1200" baseline="0">
                <a:solidFill>
                  <a:schemeClr val="bg1"/>
                </a:solidFill>
              </a:defRPr>
            </a:lvl2pPr>
            <a:lvl3pPr>
              <a:defRPr sz="1200" baseline="0">
                <a:solidFill>
                  <a:schemeClr val="bg1"/>
                </a:solidFill>
              </a:defRPr>
            </a:lvl3pPr>
            <a:lvl4pPr>
              <a:defRPr sz="1200" baseline="0">
                <a:solidFill>
                  <a:schemeClr val="bg1"/>
                </a:solidFill>
              </a:defRPr>
            </a:lvl4pPr>
            <a:lvl5pPr>
              <a:defRPr sz="120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osition and Title</a:t>
            </a:r>
          </a:p>
        </p:txBody>
      </p:sp>
      <p:sp>
        <p:nvSpPr>
          <p:cNvPr id="40" name="Telephone">
            <a:extLst>
              <a:ext uri="{FF2B5EF4-FFF2-40B4-BE49-F238E27FC236}">
                <a16:creationId xmlns:a16="http://schemas.microsoft.com/office/drawing/2014/main" id="{A0ED14EA-5B52-4818-A618-8EA9C11CFA5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65752" y="4033929"/>
            <a:ext cx="2649894" cy="175434"/>
          </a:xfrm>
        </p:spPr>
        <p:txBody>
          <a:bodyPr/>
          <a:lstStyle>
            <a:lvl1pPr>
              <a:defRPr sz="1200" baseline="0">
                <a:solidFill>
                  <a:schemeClr val="bg1"/>
                </a:solidFill>
              </a:defRPr>
            </a:lvl1pPr>
            <a:lvl2pPr>
              <a:defRPr sz="1200" baseline="0">
                <a:solidFill>
                  <a:schemeClr val="bg1"/>
                </a:solidFill>
              </a:defRPr>
            </a:lvl2pPr>
            <a:lvl3pPr>
              <a:defRPr sz="1200" baseline="0">
                <a:solidFill>
                  <a:schemeClr val="bg1"/>
                </a:solidFill>
              </a:defRPr>
            </a:lvl3pPr>
            <a:lvl4pPr>
              <a:defRPr sz="1200" baseline="0">
                <a:solidFill>
                  <a:schemeClr val="bg1"/>
                </a:solidFill>
              </a:defRPr>
            </a:lvl4pPr>
            <a:lvl5pPr>
              <a:defRPr sz="1200" baseline="0">
                <a:solidFill>
                  <a:schemeClr val="bg1"/>
                </a:solidFill>
              </a:defRPr>
            </a:lvl5pPr>
          </a:lstStyle>
          <a:p>
            <a:pPr lvl="0" defTabSz="374400">
              <a:lnSpc>
                <a:spcPct val="95000"/>
              </a:lnSpc>
              <a:spcAft>
                <a:spcPts val="0"/>
              </a:spcAft>
            </a:pPr>
            <a:r>
              <a:rPr lang="en-US" sz="1200" b="1" baseline="0" dirty="0">
                <a:solidFill>
                  <a:schemeClr val="bg1"/>
                </a:solidFill>
              </a:rPr>
              <a:t>+31 12 3456 7890</a:t>
            </a:r>
          </a:p>
        </p:txBody>
      </p:sp>
      <p:sp>
        <p:nvSpPr>
          <p:cNvPr id="43" name="Email">
            <a:extLst>
              <a:ext uri="{FF2B5EF4-FFF2-40B4-BE49-F238E27FC236}">
                <a16:creationId xmlns:a16="http://schemas.microsoft.com/office/drawing/2014/main" id="{2F4C36B4-9688-4315-86CA-0EA0915517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65751" y="4209364"/>
            <a:ext cx="2649887" cy="202436"/>
          </a:xfrm>
        </p:spPr>
        <p:txBody>
          <a:bodyPr/>
          <a:lstStyle>
            <a:lvl1pPr>
              <a:defRPr sz="1200" b="1" i="0" baseline="0">
                <a:solidFill>
                  <a:schemeClr val="bg1"/>
                </a:solidFill>
              </a:defRPr>
            </a:lvl1pPr>
            <a:lvl2pPr>
              <a:defRPr sz="1200" b="1" i="0" baseline="0">
                <a:solidFill>
                  <a:schemeClr val="bg1"/>
                </a:solidFill>
              </a:defRPr>
            </a:lvl2pPr>
            <a:lvl3pPr>
              <a:defRPr sz="1200" b="1" i="0" baseline="0">
                <a:solidFill>
                  <a:schemeClr val="bg1"/>
                </a:solidFill>
              </a:defRPr>
            </a:lvl3pPr>
            <a:lvl4pPr>
              <a:defRPr sz="1200" b="1" i="0" baseline="0">
                <a:solidFill>
                  <a:schemeClr val="bg1"/>
                </a:solidFill>
              </a:defRPr>
            </a:lvl4pPr>
            <a:lvl5pPr>
              <a:defRPr sz="1200" b="1" i="0" baseline="0">
                <a:solidFill>
                  <a:schemeClr val="bg1"/>
                </a:solidFill>
              </a:defRPr>
            </a:lvl5pPr>
          </a:lstStyle>
          <a:p>
            <a:pPr defTabSz="374400">
              <a:lnSpc>
                <a:spcPct val="95000"/>
              </a:lnSpc>
              <a:spcAft>
                <a:spcPts val="0"/>
              </a:spcAft>
            </a:pPr>
            <a:r>
              <a:rPr lang="en-US" sz="1200" b="1" baseline="0" dirty="0">
                <a:solidFill>
                  <a:schemeClr val="bg1"/>
                </a:solidFill>
              </a:rPr>
              <a:t>firstname.lastname@asml.com</a:t>
            </a:r>
          </a:p>
        </p:txBody>
      </p:sp>
      <p:sp>
        <p:nvSpPr>
          <p:cNvPr id="45" name="Location">
            <a:extLst>
              <a:ext uri="{FF2B5EF4-FFF2-40B4-BE49-F238E27FC236}">
                <a16:creationId xmlns:a16="http://schemas.microsoft.com/office/drawing/2014/main" id="{C0E5E582-CB4C-4554-9A53-74C1E43BF96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293912" y="3316706"/>
            <a:ext cx="2324084" cy="175433"/>
          </a:xfrm>
        </p:spPr>
        <p:txBody>
          <a:bodyPr/>
          <a:lstStyle>
            <a:lvl1pPr>
              <a:defRPr sz="1200" b="1" i="0" baseline="0">
                <a:solidFill>
                  <a:schemeClr val="bg1"/>
                </a:solidFill>
              </a:defRPr>
            </a:lvl1pPr>
            <a:lvl2pPr>
              <a:defRPr sz="1200" b="1" i="0" baseline="0">
                <a:solidFill>
                  <a:schemeClr val="bg1"/>
                </a:solidFill>
              </a:defRPr>
            </a:lvl2pPr>
            <a:lvl3pPr>
              <a:defRPr sz="1200" b="1" i="0" baseline="0">
                <a:solidFill>
                  <a:schemeClr val="bg1"/>
                </a:solidFill>
              </a:defRPr>
            </a:lvl3pPr>
            <a:lvl4pPr>
              <a:defRPr sz="1200" b="1" i="0" baseline="0">
                <a:solidFill>
                  <a:schemeClr val="bg1"/>
                </a:solidFill>
              </a:defRPr>
            </a:lvl4pPr>
            <a:lvl5pPr>
              <a:defRPr sz="1200" b="1" i="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Location</a:t>
            </a:r>
          </a:p>
          <a:p>
            <a:pPr lvl="1"/>
            <a:endParaRPr lang="en-US" dirty="0"/>
          </a:p>
        </p:txBody>
      </p:sp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24EC8ADC-525E-4679-AFC2-3E71B47EAFAA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pPr>
              <a:lnSpc>
                <a:spcPct val="110000"/>
              </a:lnSpc>
              <a:spcAft>
                <a:spcPts val="0"/>
              </a:spcAft>
            </a:pPr>
            <a:fld id="{BD94D0EC-69AD-4209-B306-81122119E786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October 24, 2023</a:t>
            </a:fld>
            <a:endParaRPr lang="en-US" dirty="0"/>
          </a:p>
        </p:txBody>
      </p:sp>
      <p:sp>
        <p:nvSpPr>
          <p:cNvPr id="7" name="Footer Placeholder 6" hidden="1">
            <a:extLst>
              <a:ext uri="{FF2B5EF4-FFF2-40B4-BE49-F238E27FC236}">
                <a16:creationId xmlns:a16="http://schemas.microsoft.com/office/drawing/2014/main" id="{3ABB07B7-3662-4056-81D4-B5989AC29F7E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8" name="Slide Number Placeholder 7" hidden="1">
            <a:extLst>
              <a:ext uri="{FF2B5EF4-FFF2-40B4-BE49-F238E27FC236}">
                <a16:creationId xmlns:a16="http://schemas.microsoft.com/office/drawing/2014/main" id="{0BAF792A-C35A-4C28-BA63-0765F6AD1D03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920788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>
        <p15:guide id="1" pos="731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 slide" preserve="1">
  <p:cSld name="End slide">
    <p:bg>
      <p:bgPr>
        <a:gradFill>
          <a:gsLst>
            <a:gs pos="99000">
              <a:srgbClr val="00A3E0"/>
            </a:gs>
            <a:gs pos="1000">
              <a:srgbClr val="10069F"/>
            </a:gs>
          </a:gsLst>
          <a:lin ang="906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8" name="Hide background Logo">
            <a:extLst>
              <a:ext uri="{FF2B5EF4-FFF2-40B4-BE49-F238E27FC236}">
                <a16:creationId xmlns:a16="http://schemas.microsoft.com/office/drawing/2014/main" id="{0C3579B9-3ADA-4588-BB3E-E3EBFB6BF267}"/>
              </a:ext>
            </a:extLst>
          </p:cNvPr>
          <p:cNvSpPr/>
          <p:nvPr userDrawn="1"/>
        </p:nvSpPr>
        <p:spPr>
          <a:xfrm>
            <a:off x="339600" y="6471000"/>
            <a:ext cx="748800" cy="2808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noFill/>
            </a:endParaRPr>
          </a:p>
        </p:txBody>
      </p:sp>
      <p:grpSp>
        <p:nvGrpSpPr>
          <p:cNvPr id="42" name="Grid Decoration">
            <a:extLst>
              <a:ext uri="{FF2B5EF4-FFF2-40B4-BE49-F238E27FC236}">
                <a16:creationId xmlns:a16="http://schemas.microsoft.com/office/drawing/2014/main" id="{8F70B469-5ED5-4570-8D58-BA071F46B914}"/>
              </a:ext>
            </a:extLst>
          </p:cNvPr>
          <p:cNvGrpSpPr/>
          <p:nvPr/>
        </p:nvGrpSpPr>
        <p:grpSpPr bwMode="ltGray">
          <a:xfrm flipH="1">
            <a:off x="0" y="0"/>
            <a:ext cx="12192000" cy="6858000"/>
            <a:chOff x="1200" y="-446400"/>
            <a:chExt cx="12192000" cy="6858000"/>
          </a:xfrm>
        </p:grpSpPr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D60ADC78-9949-4FBB-A175-E501ED9162FB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9186000" y="-44640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FBB44016-66B0-4E2E-BCED-C9CE40DE18C8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9934800" y="-44640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1B955A00-9F62-4DD8-A095-D8BF428B101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10683600" y="-44640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AF2CC4B7-89C1-4B8A-BC0D-231CC2EA6BD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11432400" y="-446400"/>
              <a:ext cx="0" cy="68580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851C1756-0D22-4BF0-97A1-FBE27C9E8B5B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944400" y="455400"/>
              <a:ext cx="82488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0DBE7224-2A0D-4F58-A43F-748C3E4ECD0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944400" y="1391400"/>
              <a:ext cx="82488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7EDC6495-C889-47B6-9B12-993370440A8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3944400" y="2326960"/>
              <a:ext cx="0" cy="408464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5246DF58-B7B0-456A-9F6A-B6A271823058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8437200" y="-44596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E40FD560-CBED-401C-9A39-15B1E50E0BA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7688400" y="-445520"/>
              <a:ext cx="0" cy="685712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303795F4-52D0-485C-8912-D428ADACEAF7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200" y="2327400"/>
              <a:ext cx="121920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B0CD295C-95AB-4825-87D7-B3A7F8DCFDDE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6939600" y="-44596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19EA2067-06E6-4FB3-A618-7AA7C1C0111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6190800" y="-44552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9E126F36-B98E-46D3-B603-5E778BC5212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5442000" y="-44508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BBC02083-9AF7-4E76-94A4-CD5D9F2E6B86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4693200" y="-44464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13BEE4F6-8A6B-4068-B86D-89DFDC70E626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3944400" y="-44420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Text Placeholder">
            <a:extLst>
              <a:ext uri="{FF2B5EF4-FFF2-40B4-BE49-F238E27FC236}">
                <a16:creationId xmlns:a16="http://schemas.microsoft.com/office/drawing/2014/main" id="{69DD162C-D02B-4608-B9D0-D160456CEF8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35837" y="3007799"/>
            <a:ext cx="3006563" cy="3042163"/>
          </a:xfrm>
        </p:spPr>
        <p:txBody>
          <a:bodyPr/>
          <a:lstStyle>
            <a:lvl1pPr>
              <a:defRPr sz="5400" b="1" baseline="0">
                <a:solidFill>
                  <a:schemeClr val="bg1"/>
                </a:solidFill>
              </a:defRPr>
            </a:lvl1pPr>
            <a:lvl2pPr>
              <a:defRPr sz="5400" baseline="0">
                <a:solidFill>
                  <a:schemeClr val="bg1"/>
                </a:solidFill>
              </a:defRPr>
            </a:lvl2pPr>
            <a:lvl3pPr>
              <a:defRPr sz="5400" baseline="0">
                <a:solidFill>
                  <a:schemeClr val="bg1"/>
                </a:solidFill>
              </a:defRPr>
            </a:lvl3pPr>
            <a:lvl4pPr>
              <a:defRPr sz="5400" baseline="0">
                <a:solidFill>
                  <a:schemeClr val="bg1"/>
                </a:solidFill>
              </a:defRPr>
            </a:lvl4pPr>
            <a:lvl5pPr>
              <a:defRPr sz="540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hanks</a:t>
            </a:r>
          </a:p>
          <a:p>
            <a:pPr lvl="1"/>
            <a:endParaRPr lang="en-US" dirty="0"/>
          </a:p>
        </p:txBody>
      </p:sp>
      <p:sp>
        <p:nvSpPr>
          <p:cNvPr id="39" name="MIO_AGENDA_IGNORE_NAVIGATION" hidden="1">
            <a:extLst>
              <a:ext uri="{FF2B5EF4-FFF2-40B4-BE49-F238E27FC236}">
                <a16:creationId xmlns:a16="http://schemas.microsoft.com/office/drawing/2014/main" id="{C3FBE8F4-38D0-493A-A7BB-33E9441676CE}"/>
              </a:ext>
            </a:extLst>
          </p:cNvPr>
          <p:cNvSpPr/>
          <p:nvPr/>
        </p:nvSpPr>
        <p:spPr>
          <a:xfrm>
            <a:off x="11790800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0" name="MIO_AGENDA_IGNORE_CHAPTER_REFERENCE" hidden="1">
            <a:extLst>
              <a:ext uri="{FF2B5EF4-FFF2-40B4-BE49-F238E27FC236}">
                <a16:creationId xmlns:a16="http://schemas.microsoft.com/office/drawing/2014/main" id="{F94A61A7-7AEE-4282-83AB-F464ED2636DA}"/>
              </a:ext>
            </a:extLst>
          </p:cNvPr>
          <p:cNvSpPr/>
          <p:nvPr/>
        </p:nvSpPr>
        <p:spPr>
          <a:xfrm>
            <a:off x="11517578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3" name="MIO_AGENDA_LAST_SLIDE" hidden="1">
            <a:extLst>
              <a:ext uri="{FF2B5EF4-FFF2-40B4-BE49-F238E27FC236}">
                <a16:creationId xmlns:a16="http://schemas.microsoft.com/office/drawing/2014/main" id="{7049BCE7-7BC9-455B-8C84-08F8B9A0FB1E}"/>
              </a:ext>
            </a:extLst>
          </p:cNvPr>
          <p:cNvSpPr/>
          <p:nvPr/>
        </p:nvSpPr>
        <p:spPr>
          <a:xfrm>
            <a:off x="10911760" y="115094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5" name="Logo">
            <a:extLst>
              <a:ext uri="{FF2B5EF4-FFF2-40B4-BE49-F238E27FC236}">
                <a16:creationId xmlns:a16="http://schemas.microsoft.com/office/drawing/2014/main" id="{562F8F28-5BE4-41C6-8A66-09C03AA22E21}"/>
              </a:ext>
            </a:extLst>
          </p:cNvPr>
          <p:cNvSpPr>
            <a:spLocks noChangeAspect="1"/>
          </p:cNvSpPr>
          <p:nvPr/>
        </p:nvSpPr>
        <p:spPr bwMode="black">
          <a:xfrm>
            <a:off x="10111908" y="433388"/>
            <a:ext cx="1694330" cy="468412"/>
          </a:xfrm>
          <a:custGeom>
            <a:avLst/>
            <a:gdLst>
              <a:gd name="connsiteX0" fmla="*/ 322580 w 2575560"/>
              <a:gd name="connsiteY0" fmla="*/ 171554 h 719869"/>
              <a:gd name="connsiteX1" fmla="*/ 261620 w 2575560"/>
              <a:gd name="connsiteY1" fmla="*/ 452224 h 719869"/>
              <a:gd name="connsiteX2" fmla="*/ 384810 w 2575560"/>
              <a:gd name="connsiteY2" fmla="*/ 452224 h 719869"/>
              <a:gd name="connsiteX3" fmla="*/ 941070 w 2575560"/>
              <a:gd name="connsiteY3" fmla="*/ 157584 h 719869"/>
              <a:gd name="connsiteX4" fmla="*/ 892810 w 2575560"/>
              <a:gd name="connsiteY4" fmla="*/ 212194 h 719869"/>
              <a:gd name="connsiteX5" fmla="*/ 998220 w 2575560"/>
              <a:gd name="connsiteY5" fmla="*/ 293474 h 719869"/>
              <a:gd name="connsiteX6" fmla="*/ 1195070 w 2575560"/>
              <a:gd name="connsiteY6" fmla="*/ 500484 h 719869"/>
              <a:gd name="connsiteX7" fmla="*/ 1009650 w 2575560"/>
              <a:gd name="connsiteY7" fmla="*/ 703684 h 719869"/>
              <a:gd name="connsiteX8" fmla="*/ 687070 w 2575560"/>
              <a:gd name="connsiteY8" fmla="*/ 671934 h 719869"/>
              <a:gd name="connsiteX9" fmla="*/ 687070 w 2575560"/>
              <a:gd name="connsiteY9" fmla="*/ 506834 h 719869"/>
              <a:gd name="connsiteX10" fmla="*/ 876300 w 2575560"/>
              <a:gd name="connsiteY10" fmla="*/ 577954 h 719869"/>
              <a:gd name="connsiteX11" fmla="*/ 981710 w 2575560"/>
              <a:gd name="connsiteY11" fmla="*/ 500484 h 719869"/>
              <a:gd name="connsiteX12" fmla="*/ 909320 w 2575560"/>
              <a:gd name="connsiteY12" fmla="*/ 420474 h 719869"/>
              <a:gd name="connsiteX13" fmla="*/ 941070 w 2575560"/>
              <a:gd name="connsiteY13" fmla="*/ 157584 h 719869"/>
              <a:gd name="connsiteX14" fmla="*/ 2136140 w 2575560"/>
              <a:gd name="connsiteY14" fmla="*/ 20424 h 719869"/>
              <a:gd name="connsiteX15" fmla="*/ 2321560 w 2575560"/>
              <a:gd name="connsiteY15" fmla="*/ 20424 h 719869"/>
              <a:gd name="connsiteX16" fmla="*/ 2321560 w 2575560"/>
              <a:gd name="connsiteY16" fmla="*/ 562714 h 719869"/>
              <a:gd name="connsiteX17" fmla="*/ 2575560 w 2575560"/>
              <a:gd name="connsiteY17" fmla="*/ 562714 h 719869"/>
              <a:gd name="connsiteX18" fmla="*/ 2575560 w 2575560"/>
              <a:gd name="connsiteY18" fmla="*/ 706224 h 719869"/>
              <a:gd name="connsiteX19" fmla="*/ 2136140 w 2575560"/>
              <a:gd name="connsiteY19" fmla="*/ 706224 h 719869"/>
              <a:gd name="connsiteX20" fmla="*/ 1346200 w 2575560"/>
              <a:gd name="connsiteY20" fmla="*/ 20424 h 719869"/>
              <a:gd name="connsiteX21" fmla="*/ 1551940 w 2575560"/>
              <a:gd name="connsiteY21" fmla="*/ 20424 h 719869"/>
              <a:gd name="connsiteX22" fmla="*/ 1648460 w 2575560"/>
              <a:gd name="connsiteY22" fmla="*/ 431904 h 719869"/>
              <a:gd name="connsiteX23" fmla="*/ 1743710 w 2575560"/>
              <a:gd name="connsiteY23" fmla="*/ 20424 h 719869"/>
              <a:gd name="connsiteX24" fmla="*/ 1950720 w 2575560"/>
              <a:gd name="connsiteY24" fmla="*/ 20424 h 719869"/>
              <a:gd name="connsiteX25" fmla="*/ 2039620 w 2575560"/>
              <a:gd name="connsiteY25" fmla="*/ 706224 h 719869"/>
              <a:gd name="connsiteX26" fmla="*/ 1846580 w 2575560"/>
              <a:gd name="connsiteY26" fmla="*/ 706224 h 719869"/>
              <a:gd name="connsiteX27" fmla="*/ 1813560 w 2575560"/>
              <a:gd name="connsiteY27" fmla="*/ 274424 h 719869"/>
              <a:gd name="connsiteX28" fmla="*/ 1723390 w 2575560"/>
              <a:gd name="connsiteY28" fmla="*/ 706224 h 719869"/>
              <a:gd name="connsiteX29" fmla="*/ 1572260 w 2575560"/>
              <a:gd name="connsiteY29" fmla="*/ 706224 h 719869"/>
              <a:gd name="connsiteX30" fmla="*/ 1483360 w 2575560"/>
              <a:gd name="connsiteY30" fmla="*/ 274424 h 719869"/>
              <a:gd name="connsiteX31" fmla="*/ 1449070 w 2575560"/>
              <a:gd name="connsiteY31" fmla="*/ 706224 h 719869"/>
              <a:gd name="connsiteX32" fmla="*/ 1257300 w 2575560"/>
              <a:gd name="connsiteY32" fmla="*/ 706224 h 719869"/>
              <a:gd name="connsiteX33" fmla="*/ 205740 w 2575560"/>
              <a:gd name="connsiteY33" fmla="*/ 20424 h 719869"/>
              <a:gd name="connsiteX34" fmla="*/ 439420 w 2575560"/>
              <a:gd name="connsiteY34" fmla="*/ 20424 h 719869"/>
              <a:gd name="connsiteX35" fmla="*/ 645160 w 2575560"/>
              <a:gd name="connsiteY35" fmla="*/ 706224 h 719869"/>
              <a:gd name="connsiteX36" fmla="*/ 439420 w 2575560"/>
              <a:gd name="connsiteY36" fmla="*/ 706224 h 719869"/>
              <a:gd name="connsiteX37" fmla="*/ 411480 w 2575560"/>
              <a:gd name="connsiteY37" fmla="*/ 583034 h 719869"/>
              <a:gd name="connsiteX38" fmla="*/ 232410 w 2575560"/>
              <a:gd name="connsiteY38" fmla="*/ 583034 h 719869"/>
              <a:gd name="connsiteX39" fmla="*/ 204470 w 2575560"/>
              <a:gd name="connsiteY39" fmla="*/ 706224 h 719869"/>
              <a:gd name="connsiteX40" fmla="*/ 0 w 2575560"/>
              <a:gd name="connsiteY40" fmla="*/ 706224 h 719869"/>
              <a:gd name="connsiteX41" fmla="*/ 994112 w 2575560"/>
              <a:gd name="connsiteY41" fmla="*/ 422 h 719869"/>
              <a:gd name="connsiteX42" fmla="*/ 1140459 w 2575560"/>
              <a:gd name="connsiteY42" fmla="*/ 34395 h 719869"/>
              <a:gd name="connsiteX43" fmla="*/ 1140459 w 2575560"/>
              <a:gd name="connsiteY43" fmla="*/ 212195 h 719869"/>
              <a:gd name="connsiteX44" fmla="*/ 701040 w 2575560"/>
              <a:gd name="connsiteY44" fmla="*/ 260455 h 719869"/>
              <a:gd name="connsiteX45" fmla="*/ 994112 w 2575560"/>
              <a:gd name="connsiteY45" fmla="*/ 422 h 7198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2575560" h="719869">
                <a:moveTo>
                  <a:pt x="322580" y="171554"/>
                </a:moveTo>
                <a:lnTo>
                  <a:pt x="261620" y="452224"/>
                </a:lnTo>
                <a:lnTo>
                  <a:pt x="384810" y="452224"/>
                </a:lnTo>
                <a:close/>
                <a:moveTo>
                  <a:pt x="941070" y="157584"/>
                </a:moveTo>
                <a:cubicBezTo>
                  <a:pt x="900430" y="170284"/>
                  <a:pt x="892810" y="191874"/>
                  <a:pt x="892810" y="212194"/>
                </a:cubicBezTo>
                <a:cubicBezTo>
                  <a:pt x="892810" y="261724"/>
                  <a:pt x="955040" y="276964"/>
                  <a:pt x="998220" y="293474"/>
                </a:cubicBezTo>
                <a:cubicBezTo>
                  <a:pt x="1069340" y="320144"/>
                  <a:pt x="1195070" y="355704"/>
                  <a:pt x="1195070" y="500484"/>
                </a:cubicBezTo>
                <a:cubicBezTo>
                  <a:pt x="1195070" y="589384"/>
                  <a:pt x="1109980" y="673204"/>
                  <a:pt x="1009650" y="703684"/>
                </a:cubicBezTo>
                <a:cubicBezTo>
                  <a:pt x="885190" y="741784"/>
                  <a:pt x="763270" y="704954"/>
                  <a:pt x="687070" y="671934"/>
                </a:cubicBezTo>
                <a:lnTo>
                  <a:pt x="687070" y="506834"/>
                </a:lnTo>
                <a:cubicBezTo>
                  <a:pt x="750570" y="552554"/>
                  <a:pt x="806450" y="576684"/>
                  <a:pt x="876300" y="577954"/>
                </a:cubicBezTo>
                <a:cubicBezTo>
                  <a:pt x="918210" y="579224"/>
                  <a:pt x="981710" y="558904"/>
                  <a:pt x="981710" y="500484"/>
                </a:cubicBezTo>
                <a:cubicBezTo>
                  <a:pt x="981710" y="449684"/>
                  <a:pt x="935990" y="434444"/>
                  <a:pt x="909320" y="420474"/>
                </a:cubicBezTo>
                <a:cubicBezTo>
                  <a:pt x="758190" y="337924"/>
                  <a:pt x="803910" y="171554"/>
                  <a:pt x="941070" y="157584"/>
                </a:cubicBezTo>
                <a:close/>
                <a:moveTo>
                  <a:pt x="2136140" y="20424"/>
                </a:moveTo>
                <a:lnTo>
                  <a:pt x="2321560" y="20424"/>
                </a:lnTo>
                <a:lnTo>
                  <a:pt x="2321560" y="562714"/>
                </a:lnTo>
                <a:lnTo>
                  <a:pt x="2575560" y="562714"/>
                </a:lnTo>
                <a:lnTo>
                  <a:pt x="2575560" y="706224"/>
                </a:lnTo>
                <a:lnTo>
                  <a:pt x="2136140" y="706224"/>
                </a:lnTo>
                <a:close/>
                <a:moveTo>
                  <a:pt x="1346200" y="20424"/>
                </a:moveTo>
                <a:lnTo>
                  <a:pt x="1551940" y="20424"/>
                </a:lnTo>
                <a:lnTo>
                  <a:pt x="1648460" y="431904"/>
                </a:lnTo>
                <a:lnTo>
                  <a:pt x="1743710" y="20424"/>
                </a:lnTo>
                <a:lnTo>
                  <a:pt x="1950720" y="20424"/>
                </a:lnTo>
                <a:lnTo>
                  <a:pt x="2039620" y="706224"/>
                </a:lnTo>
                <a:lnTo>
                  <a:pt x="1846580" y="706224"/>
                </a:lnTo>
                <a:lnTo>
                  <a:pt x="1813560" y="274424"/>
                </a:lnTo>
                <a:lnTo>
                  <a:pt x="1723390" y="706224"/>
                </a:lnTo>
                <a:lnTo>
                  <a:pt x="1572260" y="706224"/>
                </a:lnTo>
                <a:lnTo>
                  <a:pt x="1483360" y="274424"/>
                </a:lnTo>
                <a:lnTo>
                  <a:pt x="1449070" y="706224"/>
                </a:lnTo>
                <a:lnTo>
                  <a:pt x="1257300" y="706224"/>
                </a:lnTo>
                <a:close/>
                <a:moveTo>
                  <a:pt x="205740" y="20424"/>
                </a:moveTo>
                <a:lnTo>
                  <a:pt x="439420" y="20424"/>
                </a:lnTo>
                <a:lnTo>
                  <a:pt x="645160" y="706224"/>
                </a:lnTo>
                <a:lnTo>
                  <a:pt x="439420" y="706224"/>
                </a:lnTo>
                <a:lnTo>
                  <a:pt x="411480" y="583034"/>
                </a:lnTo>
                <a:lnTo>
                  <a:pt x="232410" y="583034"/>
                </a:lnTo>
                <a:lnTo>
                  <a:pt x="204470" y="706224"/>
                </a:lnTo>
                <a:lnTo>
                  <a:pt x="0" y="706224"/>
                </a:lnTo>
                <a:close/>
                <a:moveTo>
                  <a:pt x="994112" y="422"/>
                </a:moveTo>
                <a:cubicBezTo>
                  <a:pt x="1046321" y="2724"/>
                  <a:pt x="1097597" y="14392"/>
                  <a:pt x="1140459" y="34395"/>
                </a:cubicBezTo>
                <a:cubicBezTo>
                  <a:pt x="1143000" y="75035"/>
                  <a:pt x="1146809" y="118215"/>
                  <a:pt x="1140459" y="212195"/>
                </a:cubicBezTo>
                <a:cubicBezTo>
                  <a:pt x="970280" y="63605"/>
                  <a:pt x="703580" y="123295"/>
                  <a:pt x="701040" y="260455"/>
                </a:cubicBezTo>
                <a:cubicBezTo>
                  <a:pt x="672465" y="70907"/>
                  <a:pt x="837486" y="-6483"/>
                  <a:pt x="994112" y="422"/>
                </a:cubicBezTo>
                <a:close/>
              </a:path>
            </a:pathLst>
          </a:custGeom>
          <a:solidFill>
            <a:srgbClr val="FFFFFF"/>
          </a:solidFill>
          <a:ln w="1270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6" name="Graphic 4907">
            <a:extLst>
              <a:ext uri="{FF2B5EF4-FFF2-40B4-BE49-F238E27FC236}">
                <a16:creationId xmlns:a16="http://schemas.microsoft.com/office/drawing/2014/main" id="{22AFA129-B012-46CD-AC08-0FE087D39767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black">
          <a:xfrm>
            <a:off x="8711708" y="3175577"/>
            <a:ext cx="332692" cy="465562"/>
            <a:chOff x="24624313" y="3946220"/>
            <a:chExt cx="1065476" cy="1490999"/>
          </a:xfrm>
          <a:solidFill>
            <a:srgbClr val="FFFFFF"/>
          </a:solidFill>
        </p:grpSpPr>
        <p:sp>
          <p:nvSpPr>
            <p:cNvPr id="47" name="Vrije vorm: vorm 4910">
              <a:extLst>
                <a:ext uri="{FF2B5EF4-FFF2-40B4-BE49-F238E27FC236}">
                  <a16:creationId xmlns:a16="http://schemas.microsoft.com/office/drawing/2014/main" id="{FAC3AB7A-2583-4658-9136-BA324BD78711}"/>
                </a:ext>
              </a:extLst>
            </p:cNvPr>
            <p:cNvSpPr/>
            <p:nvPr/>
          </p:nvSpPr>
          <p:spPr bwMode="black">
            <a:xfrm>
              <a:off x="24624313" y="3946220"/>
              <a:ext cx="1065476" cy="1490999"/>
            </a:xfrm>
            <a:custGeom>
              <a:avLst/>
              <a:gdLst>
                <a:gd name="connsiteX0" fmla="*/ 967708 w 1065476"/>
                <a:gd name="connsiteY0" fmla="*/ 192139 h 1490999"/>
                <a:gd name="connsiteX1" fmla="*/ 533474 w 1065476"/>
                <a:gd name="connsiteY1" fmla="*/ 0 h 1490999"/>
                <a:gd name="connsiteX2" fmla="*/ 99239 w 1065476"/>
                <a:gd name="connsiteY2" fmla="*/ 192139 h 1490999"/>
                <a:gd name="connsiteX3" fmla="*/ 7012 w 1065476"/>
                <a:gd name="connsiteY3" fmla="*/ 534147 h 1490999"/>
                <a:gd name="connsiteX4" fmla="*/ 506574 w 1065476"/>
                <a:gd name="connsiteY4" fmla="*/ 1452571 h 1490999"/>
                <a:gd name="connsiteX5" fmla="*/ 533474 w 1065476"/>
                <a:gd name="connsiteY5" fmla="*/ 1490999 h 1490999"/>
                <a:gd name="connsiteX6" fmla="*/ 560373 w 1065476"/>
                <a:gd name="connsiteY6" fmla="*/ 1452571 h 1490999"/>
                <a:gd name="connsiteX7" fmla="*/ 1059934 w 1065476"/>
                <a:gd name="connsiteY7" fmla="*/ 534147 h 1490999"/>
                <a:gd name="connsiteX8" fmla="*/ 967708 w 1065476"/>
                <a:gd name="connsiteY8" fmla="*/ 192139 h 1490999"/>
                <a:gd name="connsiteX9" fmla="*/ 994608 w 1065476"/>
                <a:gd name="connsiteY9" fmla="*/ 522618 h 1490999"/>
                <a:gd name="connsiteX10" fmla="*/ 529631 w 1065476"/>
                <a:gd name="connsiteY10" fmla="*/ 1379559 h 1490999"/>
                <a:gd name="connsiteX11" fmla="*/ 68497 w 1065476"/>
                <a:gd name="connsiteY11" fmla="*/ 522618 h 1490999"/>
                <a:gd name="connsiteX12" fmla="*/ 145353 w 1065476"/>
                <a:gd name="connsiteY12" fmla="*/ 230567 h 1490999"/>
                <a:gd name="connsiteX13" fmla="*/ 529631 w 1065476"/>
                <a:gd name="connsiteY13" fmla="*/ 57642 h 1490999"/>
                <a:gd name="connsiteX14" fmla="*/ 913909 w 1065476"/>
                <a:gd name="connsiteY14" fmla="*/ 230567 h 1490999"/>
                <a:gd name="connsiteX15" fmla="*/ 994608 w 1065476"/>
                <a:gd name="connsiteY15" fmla="*/ 522618 h 1490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065476" h="1490999">
                  <a:moveTo>
                    <a:pt x="967708" y="192139"/>
                  </a:moveTo>
                  <a:cubicBezTo>
                    <a:pt x="867795" y="73013"/>
                    <a:pt x="702556" y="0"/>
                    <a:pt x="533474" y="0"/>
                  </a:cubicBezTo>
                  <a:cubicBezTo>
                    <a:pt x="364390" y="0"/>
                    <a:pt x="199151" y="73013"/>
                    <a:pt x="99239" y="192139"/>
                  </a:cubicBezTo>
                  <a:cubicBezTo>
                    <a:pt x="18540" y="292051"/>
                    <a:pt x="-16045" y="411178"/>
                    <a:pt x="7012" y="534147"/>
                  </a:cubicBezTo>
                  <a:cubicBezTo>
                    <a:pt x="49283" y="757028"/>
                    <a:pt x="487360" y="1425672"/>
                    <a:pt x="506574" y="1452571"/>
                  </a:cubicBezTo>
                  <a:lnTo>
                    <a:pt x="533474" y="1490999"/>
                  </a:lnTo>
                  <a:lnTo>
                    <a:pt x="560373" y="1452571"/>
                  </a:lnTo>
                  <a:cubicBezTo>
                    <a:pt x="579586" y="1421829"/>
                    <a:pt x="1021506" y="745500"/>
                    <a:pt x="1059934" y="534147"/>
                  </a:cubicBezTo>
                  <a:cubicBezTo>
                    <a:pt x="1079148" y="407335"/>
                    <a:pt x="1048406" y="288209"/>
                    <a:pt x="967708" y="192139"/>
                  </a:cubicBezTo>
                  <a:moveTo>
                    <a:pt x="994608" y="522618"/>
                  </a:moveTo>
                  <a:cubicBezTo>
                    <a:pt x="963865" y="691701"/>
                    <a:pt x="629543" y="1225847"/>
                    <a:pt x="529631" y="1379559"/>
                  </a:cubicBezTo>
                  <a:cubicBezTo>
                    <a:pt x="433561" y="1229690"/>
                    <a:pt x="99239" y="703229"/>
                    <a:pt x="68497" y="522618"/>
                  </a:cubicBezTo>
                  <a:cubicBezTo>
                    <a:pt x="45440" y="388121"/>
                    <a:pt x="95396" y="288209"/>
                    <a:pt x="145353" y="230567"/>
                  </a:cubicBezTo>
                  <a:cubicBezTo>
                    <a:pt x="233736" y="126812"/>
                    <a:pt x="379763" y="57642"/>
                    <a:pt x="529631" y="57642"/>
                  </a:cubicBezTo>
                  <a:cubicBezTo>
                    <a:pt x="679499" y="57642"/>
                    <a:pt x="825524" y="122969"/>
                    <a:pt x="913909" y="230567"/>
                  </a:cubicBezTo>
                  <a:cubicBezTo>
                    <a:pt x="967708" y="288209"/>
                    <a:pt x="1021506" y="388121"/>
                    <a:pt x="994608" y="522618"/>
                  </a:cubicBezTo>
                </a:path>
              </a:pathLst>
            </a:custGeom>
            <a:solidFill>
              <a:srgbClr val="FFFFFF"/>
            </a:solidFill>
            <a:ln w="384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baseline="0">
                <a:solidFill>
                  <a:schemeClr val="bg1"/>
                </a:solidFill>
              </a:endParaRPr>
            </a:p>
          </p:txBody>
        </p:sp>
        <p:sp>
          <p:nvSpPr>
            <p:cNvPr id="54" name="Vrije vorm: vorm 4911">
              <a:extLst>
                <a:ext uri="{FF2B5EF4-FFF2-40B4-BE49-F238E27FC236}">
                  <a16:creationId xmlns:a16="http://schemas.microsoft.com/office/drawing/2014/main" id="{C71F4A9C-FE68-45F4-9759-DC7F9D688760}"/>
                </a:ext>
              </a:extLst>
            </p:cNvPr>
            <p:cNvSpPr/>
            <p:nvPr/>
          </p:nvSpPr>
          <p:spPr bwMode="black">
            <a:xfrm>
              <a:off x="24877263" y="4161416"/>
              <a:ext cx="561046" cy="561046"/>
            </a:xfrm>
            <a:custGeom>
              <a:avLst/>
              <a:gdLst>
                <a:gd name="connsiteX0" fmla="*/ 280524 w 561046"/>
                <a:gd name="connsiteY0" fmla="*/ 0 h 561046"/>
                <a:gd name="connsiteX1" fmla="*/ 0 w 561046"/>
                <a:gd name="connsiteY1" fmla="*/ 280523 h 561046"/>
                <a:gd name="connsiteX2" fmla="*/ 280524 w 561046"/>
                <a:gd name="connsiteY2" fmla="*/ 561046 h 561046"/>
                <a:gd name="connsiteX3" fmla="*/ 280524 w 561046"/>
                <a:gd name="connsiteY3" fmla="*/ 499562 h 561046"/>
                <a:gd name="connsiteX4" fmla="*/ 61485 w 561046"/>
                <a:gd name="connsiteY4" fmla="*/ 280523 h 561046"/>
                <a:gd name="connsiteX5" fmla="*/ 280524 w 561046"/>
                <a:gd name="connsiteY5" fmla="*/ 61484 h 561046"/>
                <a:gd name="connsiteX6" fmla="*/ 499562 w 561046"/>
                <a:gd name="connsiteY6" fmla="*/ 280523 h 561046"/>
                <a:gd name="connsiteX7" fmla="*/ 561046 w 561046"/>
                <a:gd name="connsiteY7" fmla="*/ 280523 h 561046"/>
                <a:gd name="connsiteX8" fmla="*/ 280524 w 561046"/>
                <a:gd name="connsiteY8" fmla="*/ 0 h 561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1046" h="561046">
                  <a:moveTo>
                    <a:pt x="280524" y="0"/>
                  </a:moveTo>
                  <a:cubicBezTo>
                    <a:pt x="122969" y="0"/>
                    <a:pt x="0" y="122969"/>
                    <a:pt x="0" y="280523"/>
                  </a:cubicBezTo>
                  <a:cubicBezTo>
                    <a:pt x="0" y="438077"/>
                    <a:pt x="122969" y="561046"/>
                    <a:pt x="280524" y="561046"/>
                  </a:cubicBezTo>
                  <a:lnTo>
                    <a:pt x="280524" y="499562"/>
                  </a:lnTo>
                  <a:cubicBezTo>
                    <a:pt x="157554" y="499562"/>
                    <a:pt x="61485" y="403492"/>
                    <a:pt x="61485" y="280523"/>
                  </a:cubicBezTo>
                  <a:cubicBezTo>
                    <a:pt x="61485" y="157554"/>
                    <a:pt x="157554" y="61484"/>
                    <a:pt x="280524" y="61484"/>
                  </a:cubicBezTo>
                  <a:cubicBezTo>
                    <a:pt x="403492" y="61484"/>
                    <a:pt x="499562" y="157554"/>
                    <a:pt x="499562" y="280523"/>
                  </a:cubicBezTo>
                  <a:lnTo>
                    <a:pt x="561046" y="280523"/>
                  </a:lnTo>
                  <a:cubicBezTo>
                    <a:pt x="561046" y="122969"/>
                    <a:pt x="438077" y="0"/>
                    <a:pt x="280524" y="0"/>
                  </a:cubicBezTo>
                </a:path>
              </a:pathLst>
            </a:custGeom>
            <a:solidFill>
              <a:srgbClr val="FFFFFF"/>
            </a:solidFill>
            <a:ln w="384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baseline="0">
                <a:solidFill>
                  <a:schemeClr val="bg1"/>
                </a:solidFill>
              </a:endParaRPr>
            </a:p>
          </p:txBody>
        </p:sp>
      </p:grpSp>
      <p:grpSp>
        <p:nvGrpSpPr>
          <p:cNvPr id="55" name="Graphic 4907">
            <a:extLst>
              <a:ext uri="{FF2B5EF4-FFF2-40B4-BE49-F238E27FC236}">
                <a16:creationId xmlns:a16="http://schemas.microsoft.com/office/drawing/2014/main" id="{CB81D5B0-8EBA-4ADA-B97C-1B547263B214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black">
          <a:xfrm>
            <a:off x="4967227" y="3167263"/>
            <a:ext cx="379973" cy="465563"/>
            <a:chOff x="8107365" y="4049975"/>
            <a:chExt cx="1125934" cy="1379558"/>
          </a:xfrm>
          <a:solidFill>
            <a:srgbClr val="FFFFFF"/>
          </a:solidFill>
        </p:grpSpPr>
        <p:sp>
          <p:nvSpPr>
            <p:cNvPr id="56" name="Vrije vorm: vorm 4913">
              <a:extLst>
                <a:ext uri="{FF2B5EF4-FFF2-40B4-BE49-F238E27FC236}">
                  <a16:creationId xmlns:a16="http://schemas.microsoft.com/office/drawing/2014/main" id="{D1255CF1-ACFC-4C77-8569-E24B7172CB4D}"/>
                </a:ext>
              </a:extLst>
            </p:cNvPr>
            <p:cNvSpPr/>
            <p:nvPr/>
          </p:nvSpPr>
          <p:spPr bwMode="black">
            <a:xfrm>
              <a:off x="8295662" y="4049975"/>
              <a:ext cx="753185" cy="753185"/>
            </a:xfrm>
            <a:custGeom>
              <a:avLst/>
              <a:gdLst>
                <a:gd name="connsiteX0" fmla="*/ 376593 w 753185"/>
                <a:gd name="connsiteY0" fmla="*/ 753185 h 753185"/>
                <a:gd name="connsiteX1" fmla="*/ 0 w 753185"/>
                <a:gd name="connsiteY1" fmla="*/ 376593 h 753185"/>
                <a:gd name="connsiteX2" fmla="*/ 376593 w 753185"/>
                <a:gd name="connsiteY2" fmla="*/ 0 h 753185"/>
                <a:gd name="connsiteX3" fmla="*/ 753185 w 753185"/>
                <a:gd name="connsiteY3" fmla="*/ 376593 h 753185"/>
                <a:gd name="connsiteX4" fmla="*/ 376593 w 753185"/>
                <a:gd name="connsiteY4" fmla="*/ 753185 h 753185"/>
                <a:gd name="connsiteX5" fmla="*/ 376593 w 753185"/>
                <a:gd name="connsiteY5" fmla="*/ 65327 h 753185"/>
                <a:gd name="connsiteX6" fmla="*/ 65327 w 753185"/>
                <a:gd name="connsiteY6" fmla="*/ 376593 h 753185"/>
                <a:gd name="connsiteX7" fmla="*/ 376593 w 753185"/>
                <a:gd name="connsiteY7" fmla="*/ 687858 h 753185"/>
                <a:gd name="connsiteX8" fmla="*/ 687858 w 753185"/>
                <a:gd name="connsiteY8" fmla="*/ 376593 h 753185"/>
                <a:gd name="connsiteX9" fmla="*/ 376593 w 753185"/>
                <a:gd name="connsiteY9" fmla="*/ 65327 h 7531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53185" h="753185">
                  <a:moveTo>
                    <a:pt x="376593" y="753185"/>
                  </a:moveTo>
                  <a:cubicBezTo>
                    <a:pt x="169082" y="753185"/>
                    <a:pt x="0" y="584103"/>
                    <a:pt x="0" y="376593"/>
                  </a:cubicBezTo>
                  <a:cubicBezTo>
                    <a:pt x="0" y="169082"/>
                    <a:pt x="169082" y="0"/>
                    <a:pt x="376593" y="0"/>
                  </a:cubicBezTo>
                  <a:cubicBezTo>
                    <a:pt x="584103" y="0"/>
                    <a:pt x="753185" y="169082"/>
                    <a:pt x="753185" y="376593"/>
                  </a:cubicBezTo>
                  <a:cubicBezTo>
                    <a:pt x="753185" y="584103"/>
                    <a:pt x="584103" y="753185"/>
                    <a:pt x="376593" y="753185"/>
                  </a:cubicBezTo>
                  <a:moveTo>
                    <a:pt x="376593" y="65327"/>
                  </a:moveTo>
                  <a:cubicBezTo>
                    <a:pt x="203667" y="65327"/>
                    <a:pt x="65327" y="207510"/>
                    <a:pt x="65327" y="376593"/>
                  </a:cubicBezTo>
                  <a:cubicBezTo>
                    <a:pt x="65327" y="549518"/>
                    <a:pt x="207510" y="687858"/>
                    <a:pt x="376593" y="687858"/>
                  </a:cubicBezTo>
                  <a:cubicBezTo>
                    <a:pt x="545675" y="687858"/>
                    <a:pt x="687858" y="545675"/>
                    <a:pt x="687858" y="376593"/>
                  </a:cubicBezTo>
                  <a:cubicBezTo>
                    <a:pt x="687858" y="207510"/>
                    <a:pt x="549518" y="65327"/>
                    <a:pt x="376593" y="65327"/>
                  </a:cubicBezTo>
                </a:path>
              </a:pathLst>
            </a:custGeom>
            <a:solidFill>
              <a:srgbClr val="FFFFFF"/>
            </a:solidFill>
            <a:ln w="384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57" name="Vrije vorm: vorm 4914">
              <a:extLst>
                <a:ext uri="{FF2B5EF4-FFF2-40B4-BE49-F238E27FC236}">
                  <a16:creationId xmlns:a16="http://schemas.microsoft.com/office/drawing/2014/main" id="{D5E9E5AC-F91B-4A84-8FE5-924686616EF7}"/>
                </a:ext>
              </a:extLst>
            </p:cNvPr>
            <p:cNvSpPr/>
            <p:nvPr/>
          </p:nvSpPr>
          <p:spPr bwMode="black">
            <a:xfrm>
              <a:off x="8107365" y="4868487"/>
              <a:ext cx="1125934" cy="561046"/>
            </a:xfrm>
            <a:custGeom>
              <a:avLst/>
              <a:gdLst>
                <a:gd name="connsiteX0" fmla="*/ 1125935 w 1125934"/>
                <a:gd name="connsiteY0" fmla="*/ 561046 h 561046"/>
                <a:gd name="connsiteX1" fmla="*/ 1064451 w 1125934"/>
                <a:gd name="connsiteY1" fmla="*/ 561046 h 561046"/>
                <a:gd name="connsiteX2" fmla="*/ 1064451 w 1125934"/>
                <a:gd name="connsiteY2" fmla="*/ 61484 h 561046"/>
                <a:gd name="connsiteX3" fmla="*/ 61485 w 1125934"/>
                <a:gd name="connsiteY3" fmla="*/ 61484 h 561046"/>
                <a:gd name="connsiteX4" fmla="*/ 61485 w 1125934"/>
                <a:gd name="connsiteY4" fmla="*/ 561046 h 561046"/>
                <a:gd name="connsiteX5" fmla="*/ 0 w 1125934"/>
                <a:gd name="connsiteY5" fmla="*/ 561046 h 561046"/>
                <a:gd name="connsiteX6" fmla="*/ 0 w 1125934"/>
                <a:gd name="connsiteY6" fmla="*/ 0 h 561046"/>
                <a:gd name="connsiteX7" fmla="*/ 1125935 w 1125934"/>
                <a:gd name="connsiteY7" fmla="*/ 0 h 561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25934" h="561046">
                  <a:moveTo>
                    <a:pt x="1125935" y="561046"/>
                  </a:moveTo>
                  <a:lnTo>
                    <a:pt x="1064451" y="561046"/>
                  </a:lnTo>
                  <a:lnTo>
                    <a:pt x="1064451" y="61484"/>
                  </a:lnTo>
                  <a:lnTo>
                    <a:pt x="61485" y="61484"/>
                  </a:lnTo>
                  <a:lnTo>
                    <a:pt x="61485" y="561046"/>
                  </a:lnTo>
                  <a:lnTo>
                    <a:pt x="0" y="561046"/>
                  </a:lnTo>
                  <a:lnTo>
                    <a:pt x="0" y="0"/>
                  </a:lnTo>
                  <a:lnTo>
                    <a:pt x="1125935" y="0"/>
                  </a:lnTo>
                  <a:close/>
                </a:path>
              </a:pathLst>
            </a:custGeom>
            <a:solidFill>
              <a:srgbClr val="FFFFFF"/>
            </a:solidFill>
            <a:ln w="384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</p:grpSp>
      <p:sp>
        <p:nvSpPr>
          <p:cNvPr id="6" name="Firstname Lastname">
            <a:extLst>
              <a:ext uri="{FF2B5EF4-FFF2-40B4-BE49-F238E27FC236}">
                <a16:creationId xmlns:a16="http://schemas.microsoft.com/office/drawing/2014/main" id="{411E9401-EC09-478E-A9B1-7F39EE0E14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64109" y="3314653"/>
            <a:ext cx="2310293" cy="175433"/>
          </a:xfrm>
        </p:spPr>
        <p:txBody>
          <a:bodyPr/>
          <a:lstStyle>
            <a:lvl1pPr>
              <a:defRPr sz="1200" b="1" i="0" baseline="0">
                <a:solidFill>
                  <a:schemeClr val="bg1"/>
                </a:solidFill>
              </a:defRPr>
            </a:lvl1pPr>
            <a:lvl2pPr>
              <a:defRPr sz="1200" baseline="0">
                <a:solidFill>
                  <a:schemeClr val="bg1"/>
                </a:solidFill>
              </a:defRPr>
            </a:lvl2pPr>
            <a:lvl3pPr>
              <a:defRPr sz="1200" baseline="0">
                <a:solidFill>
                  <a:schemeClr val="bg1"/>
                </a:solidFill>
              </a:defRPr>
            </a:lvl3pPr>
            <a:lvl4pPr>
              <a:defRPr sz="1200" baseline="0">
                <a:solidFill>
                  <a:schemeClr val="bg1"/>
                </a:solidFill>
              </a:defRPr>
            </a:lvl4pPr>
            <a:lvl5pPr>
              <a:defRPr sz="120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/>
              <a:t>Firstname</a:t>
            </a:r>
            <a:r>
              <a:rPr lang="en-US" dirty="0"/>
              <a:t> </a:t>
            </a:r>
            <a:r>
              <a:rPr lang="en-US" dirty="0" err="1"/>
              <a:t>Lastname</a:t>
            </a:r>
            <a:endParaRPr lang="en-US" dirty="0"/>
          </a:p>
        </p:txBody>
      </p:sp>
      <p:sp>
        <p:nvSpPr>
          <p:cNvPr id="8" name="Position and Title">
            <a:extLst>
              <a:ext uri="{FF2B5EF4-FFF2-40B4-BE49-F238E27FC236}">
                <a16:creationId xmlns:a16="http://schemas.microsoft.com/office/drawing/2014/main" id="{AA8E0F45-751A-4330-8A52-962E992533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65751" y="3495097"/>
            <a:ext cx="2308247" cy="175433"/>
          </a:xfrm>
        </p:spPr>
        <p:txBody>
          <a:bodyPr/>
          <a:lstStyle>
            <a:lvl1pPr>
              <a:defRPr sz="1200" b="1" i="0" baseline="0">
                <a:solidFill>
                  <a:schemeClr val="bg1"/>
                </a:solidFill>
              </a:defRPr>
            </a:lvl1pPr>
            <a:lvl2pPr>
              <a:defRPr sz="1200" baseline="0">
                <a:solidFill>
                  <a:schemeClr val="bg1"/>
                </a:solidFill>
              </a:defRPr>
            </a:lvl2pPr>
            <a:lvl3pPr>
              <a:defRPr sz="1200" baseline="0">
                <a:solidFill>
                  <a:schemeClr val="bg1"/>
                </a:solidFill>
              </a:defRPr>
            </a:lvl3pPr>
            <a:lvl4pPr>
              <a:defRPr sz="1200" baseline="0">
                <a:solidFill>
                  <a:schemeClr val="bg1"/>
                </a:solidFill>
              </a:defRPr>
            </a:lvl4pPr>
            <a:lvl5pPr>
              <a:defRPr sz="120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osition and Title</a:t>
            </a:r>
          </a:p>
        </p:txBody>
      </p:sp>
      <p:sp>
        <p:nvSpPr>
          <p:cNvPr id="10" name="Telephone">
            <a:extLst>
              <a:ext uri="{FF2B5EF4-FFF2-40B4-BE49-F238E27FC236}">
                <a16:creationId xmlns:a16="http://schemas.microsoft.com/office/drawing/2014/main" id="{3D171C7F-54D2-4D60-BCFF-93803838E6A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65752" y="4033929"/>
            <a:ext cx="2649894" cy="175434"/>
          </a:xfrm>
        </p:spPr>
        <p:txBody>
          <a:bodyPr/>
          <a:lstStyle>
            <a:lvl1pPr>
              <a:defRPr sz="1200" baseline="0">
                <a:solidFill>
                  <a:schemeClr val="bg1"/>
                </a:solidFill>
              </a:defRPr>
            </a:lvl1pPr>
            <a:lvl2pPr>
              <a:defRPr sz="1200" baseline="0">
                <a:solidFill>
                  <a:schemeClr val="bg1"/>
                </a:solidFill>
              </a:defRPr>
            </a:lvl2pPr>
            <a:lvl3pPr>
              <a:defRPr sz="1200" baseline="0">
                <a:solidFill>
                  <a:schemeClr val="bg1"/>
                </a:solidFill>
              </a:defRPr>
            </a:lvl3pPr>
            <a:lvl4pPr>
              <a:defRPr sz="1200" baseline="0">
                <a:solidFill>
                  <a:schemeClr val="bg1"/>
                </a:solidFill>
              </a:defRPr>
            </a:lvl4pPr>
            <a:lvl5pPr>
              <a:defRPr sz="1200" baseline="0">
                <a:solidFill>
                  <a:schemeClr val="bg1"/>
                </a:solidFill>
              </a:defRPr>
            </a:lvl5pPr>
          </a:lstStyle>
          <a:p>
            <a:pPr lvl="0" defTabSz="374400">
              <a:lnSpc>
                <a:spcPct val="95000"/>
              </a:lnSpc>
              <a:spcAft>
                <a:spcPts val="0"/>
              </a:spcAft>
            </a:pPr>
            <a:r>
              <a:rPr lang="en-US" sz="1200" b="1" baseline="0" dirty="0">
                <a:solidFill>
                  <a:schemeClr val="bg1"/>
                </a:solidFill>
              </a:rPr>
              <a:t>+31 12 3456 7890</a:t>
            </a:r>
          </a:p>
        </p:txBody>
      </p:sp>
      <p:sp>
        <p:nvSpPr>
          <p:cNvPr id="13" name="Email">
            <a:extLst>
              <a:ext uri="{FF2B5EF4-FFF2-40B4-BE49-F238E27FC236}">
                <a16:creationId xmlns:a16="http://schemas.microsoft.com/office/drawing/2014/main" id="{0D64B803-F1AC-4FE0-A130-F5E7BB46B02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65751" y="4209364"/>
            <a:ext cx="2649887" cy="202436"/>
          </a:xfrm>
        </p:spPr>
        <p:txBody>
          <a:bodyPr/>
          <a:lstStyle>
            <a:lvl1pPr>
              <a:defRPr sz="1200" b="1" i="0" baseline="0">
                <a:solidFill>
                  <a:schemeClr val="bg1"/>
                </a:solidFill>
              </a:defRPr>
            </a:lvl1pPr>
            <a:lvl2pPr>
              <a:defRPr sz="1200" b="1" i="0" baseline="0">
                <a:solidFill>
                  <a:schemeClr val="bg1"/>
                </a:solidFill>
              </a:defRPr>
            </a:lvl2pPr>
            <a:lvl3pPr>
              <a:defRPr sz="1200" b="1" i="0" baseline="0">
                <a:solidFill>
                  <a:schemeClr val="bg1"/>
                </a:solidFill>
              </a:defRPr>
            </a:lvl3pPr>
            <a:lvl4pPr>
              <a:defRPr sz="1200" b="1" i="0" baseline="0">
                <a:solidFill>
                  <a:schemeClr val="bg1"/>
                </a:solidFill>
              </a:defRPr>
            </a:lvl4pPr>
            <a:lvl5pPr>
              <a:defRPr sz="1200" b="1" i="0" baseline="0">
                <a:solidFill>
                  <a:schemeClr val="bg1"/>
                </a:solidFill>
              </a:defRPr>
            </a:lvl5pPr>
          </a:lstStyle>
          <a:p>
            <a:pPr defTabSz="374400">
              <a:lnSpc>
                <a:spcPct val="95000"/>
              </a:lnSpc>
              <a:spcAft>
                <a:spcPts val="0"/>
              </a:spcAft>
            </a:pPr>
            <a:r>
              <a:rPr lang="en-US" sz="1200" b="1" baseline="0" dirty="0">
                <a:solidFill>
                  <a:schemeClr val="bg1"/>
                </a:solidFill>
              </a:rPr>
              <a:t>firstname.lastname@asml.com</a:t>
            </a:r>
          </a:p>
        </p:txBody>
      </p:sp>
      <p:sp>
        <p:nvSpPr>
          <p:cNvPr id="15" name="Location">
            <a:extLst>
              <a:ext uri="{FF2B5EF4-FFF2-40B4-BE49-F238E27FC236}">
                <a16:creationId xmlns:a16="http://schemas.microsoft.com/office/drawing/2014/main" id="{D42C81F4-24AA-4A92-BC47-EAB39A43102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293912" y="3316706"/>
            <a:ext cx="2324084" cy="175433"/>
          </a:xfrm>
        </p:spPr>
        <p:txBody>
          <a:bodyPr/>
          <a:lstStyle>
            <a:lvl1pPr>
              <a:defRPr sz="1200" b="1" i="0" baseline="0">
                <a:solidFill>
                  <a:schemeClr val="bg1"/>
                </a:solidFill>
              </a:defRPr>
            </a:lvl1pPr>
            <a:lvl2pPr>
              <a:defRPr sz="1200" b="1" i="0" baseline="0">
                <a:solidFill>
                  <a:schemeClr val="bg1"/>
                </a:solidFill>
              </a:defRPr>
            </a:lvl2pPr>
            <a:lvl3pPr>
              <a:defRPr sz="1200" b="1" i="0" baseline="0">
                <a:solidFill>
                  <a:schemeClr val="bg1"/>
                </a:solidFill>
              </a:defRPr>
            </a:lvl3pPr>
            <a:lvl4pPr>
              <a:defRPr sz="1200" b="1" i="0" baseline="0">
                <a:solidFill>
                  <a:schemeClr val="bg1"/>
                </a:solidFill>
              </a:defRPr>
            </a:lvl4pPr>
            <a:lvl5pPr>
              <a:defRPr sz="1200" b="1" i="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Location</a:t>
            </a:r>
          </a:p>
          <a:p>
            <a:pPr lvl="1"/>
            <a:endParaRPr lang="en-US" dirty="0"/>
          </a:p>
        </p:txBody>
      </p:sp>
      <p:sp>
        <p:nvSpPr>
          <p:cNvPr id="5" name="Date Placeholder 4" hidden="1">
            <a:extLst>
              <a:ext uri="{FF2B5EF4-FFF2-40B4-BE49-F238E27FC236}">
                <a16:creationId xmlns:a16="http://schemas.microsoft.com/office/drawing/2014/main" id="{D709E070-026E-4274-AAE0-13E74DB36012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pPr>
              <a:lnSpc>
                <a:spcPct val="110000"/>
              </a:lnSpc>
              <a:spcAft>
                <a:spcPts val="0"/>
              </a:spcAft>
            </a:pPr>
            <a:fld id="{DB389492-908D-414E-9B10-5FBA9AAE3E0E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October 24, 2023</a:t>
            </a:fld>
            <a:endParaRPr lang="en-US" dirty="0"/>
          </a:p>
        </p:txBody>
      </p:sp>
      <p:sp>
        <p:nvSpPr>
          <p:cNvPr id="7" name="Footer Placeholder 6" hidden="1">
            <a:extLst>
              <a:ext uri="{FF2B5EF4-FFF2-40B4-BE49-F238E27FC236}">
                <a16:creationId xmlns:a16="http://schemas.microsoft.com/office/drawing/2014/main" id="{C805A902-97AB-47D4-B6F2-D811B996FF1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 hidden="1">
            <a:extLst>
              <a:ext uri="{FF2B5EF4-FFF2-40B4-BE49-F238E27FC236}">
                <a16:creationId xmlns:a16="http://schemas.microsoft.com/office/drawing/2014/main" id="{2C93483A-7A5D-4EC0-B723-E000C7C69E3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pPr algn="r">
              <a:lnSpc>
                <a:spcPct val="110000"/>
              </a:lnSpc>
              <a:spcAft>
                <a:spcPts val="0"/>
              </a:spcAft>
            </a:pPr>
            <a:fld id="{A2218858-49EA-4BF8-8EFE-B88A4580565A}" type="slidenum">
              <a:rPr lang="en-US"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9028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2" preserve="1" userDrawn="1">
  <p:cSld name="Title Slide 2">
    <p:bg>
      <p:bgPr>
        <a:gradFill>
          <a:gsLst>
            <a:gs pos="99000">
              <a:srgbClr val="00A3E0"/>
            </a:gs>
            <a:gs pos="1000">
              <a:srgbClr val="10069F"/>
            </a:gs>
          </a:gsLst>
          <a:lin ang="906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1" name="Hide background Logo">
            <a:extLst>
              <a:ext uri="{FF2B5EF4-FFF2-40B4-BE49-F238E27FC236}">
                <a16:creationId xmlns:a16="http://schemas.microsoft.com/office/drawing/2014/main" id="{78140037-05AE-4719-ADE1-27B81AE5C796}"/>
              </a:ext>
            </a:extLst>
          </p:cNvPr>
          <p:cNvSpPr/>
          <p:nvPr userDrawn="1"/>
        </p:nvSpPr>
        <p:spPr>
          <a:xfrm>
            <a:off x="339600" y="6471000"/>
            <a:ext cx="748800" cy="2808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Footer Placeholder (hidden)">
            <a:extLst>
              <a:ext uri="{FF2B5EF4-FFF2-40B4-BE49-F238E27FC236}">
                <a16:creationId xmlns:a16="http://schemas.microsoft.com/office/drawing/2014/main" id="{E59104A9-6371-4B6E-ADB0-1BC485D2DE73}"/>
              </a:ext>
            </a:extLst>
          </p:cNvPr>
          <p:cNvSpPr>
            <a:spLocks noGrp="1"/>
          </p:cNvSpPr>
          <p:nvPr>
            <p:ph type="ftr" sz="quarter" idx="9"/>
          </p:nvPr>
        </p:nvSpPr>
        <p:spPr>
          <a:xfrm>
            <a:off x="12182947" y="6848947"/>
            <a:ext cx="0" cy="0"/>
          </a:xfrm>
          <a:prstGeom prst="rect">
            <a:avLst/>
          </a:prstGeom>
        </p:spPr>
        <p:txBody>
          <a:bodyPr/>
          <a:lstStyle>
            <a:lvl1pPr algn="r">
              <a:defRPr>
                <a:noFill/>
              </a:defRPr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10" name="Slide Number Placeholder (hidden)">
            <a:extLst>
              <a:ext uri="{FF2B5EF4-FFF2-40B4-BE49-F238E27FC236}">
                <a16:creationId xmlns:a16="http://schemas.microsoft.com/office/drawing/2014/main" id="{03B6870E-CF8C-4EED-BB0D-66F9991BDBC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2182947" y="6848947"/>
            <a:ext cx="0" cy="0"/>
          </a:xfrm>
          <a:prstGeom prst="rect">
            <a:avLst/>
          </a:prstGeom>
        </p:spPr>
        <p:txBody>
          <a:bodyPr/>
          <a:lstStyle>
            <a:lvl1pPr algn="r">
              <a:defRPr>
                <a:noFill/>
              </a:defRPr>
            </a:lvl1pPr>
          </a:lstStyle>
          <a:p>
            <a:fld id="{A2218858-49EA-4BF8-8EFE-B88A4580565A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0" name="Picture Placeholder 59">
            <a:extLst>
              <a:ext uri="{FF2B5EF4-FFF2-40B4-BE49-F238E27FC236}">
                <a16:creationId xmlns:a16="http://schemas.microsoft.com/office/drawing/2014/main" id="{28724634-FC2F-49E4-BF14-FA465D8DEE7B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8067950 w 12192000"/>
              <a:gd name="connsiteY0" fmla="*/ 5120150 h 6858000"/>
              <a:gd name="connsiteX1" fmla="*/ 12192000 w 12192000"/>
              <a:gd name="connsiteY1" fmla="*/ 5120150 h 6858000"/>
              <a:gd name="connsiteX2" fmla="*/ 12192000 w 12192000"/>
              <a:gd name="connsiteY2" fmla="*/ 6858000 h 6858000"/>
              <a:gd name="connsiteX3" fmla="*/ 8067950 w 12192000"/>
              <a:gd name="connsiteY3" fmla="*/ 6858000 h 6858000"/>
              <a:gd name="connsiteX4" fmla="*/ 0 w 12192000"/>
              <a:gd name="connsiteY4" fmla="*/ 5120150 h 6858000"/>
              <a:gd name="connsiteX5" fmla="*/ 8061600 w 12192000"/>
              <a:gd name="connsiteY5" fmla="*/ 5120150 h 6858000"/>
              <a:gd name="connsiteX6" fmla="*/ 8061600 w 12192000"/>
              <a:gd name="connsiteY6" fmla="*/ 6858000 h 6858000"/>
              <a:gd name="connsiteX7" fmla="*/ 0 w 12192000"/>
              <a:gd name="connsiteY7" fmla="*/ 6858000 h 6858000"/>
              <a:gd name="connsiteX8" fmla="*/ 8067950 w 12192000"/>
              <a:gd name="connsiteY8" fmla="*/ 0 h 6858000"/>
              <a:gd name="connsiteX9" fmla="*/ 12192000 w 12192000"/>
              <a:gd name="connsiteY9" fmla="*/ 0 h 6858000"/>
              <a:gd name="connsiteX10" fmla="*/ 12192000 w 12192000"/>
              <a:gd name="connsiteY10" fmla="*/ 5113800 h 6858000"/>
              <a:gd name="connsiteX11" fmla="*/ 8067950 w 12192000"/>
              <a:gd name="connsiteY11" fmla="*/ 51138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8067950" y="5120150"/>
                </a:moveTo>
                <a:lnTo>
                  <a:pt x="12192000" y="5120150"/>
                </a:lnTo>
                <a:lnTo>
                  <a:pt x="12192000" y="6858000"/>
                </a:lnTo>
                <a:lnTo>
                  <a:pt x="8067950" y="6858000"/>
                </a:lnTo>
                <a:close/>
                <a:moveTo>
                  <a:pt x="0" y="5120150"/>
                </a:moveTo>
                <a:lnTo>
                  <a:pt x="8061600" y="5120150"/>
                </a:lnTo>
                <a:lnTo>
                  <a:pt x="8061600" y="6858000"/>
                </a:lnTo>
                <a:lnTo>
                  <a:pt x="0" y="6858000"/>
                </a:lnTo>
                <a:close/>
                <a:moveTo>
                  <a:pt x="8067950" y="0"/>
                </a:moveTo>
                <a:lnTo>
                  <a:pt x="12192000" y="0"/>
                </a:lnTo>
                <a:lnTo>
                  <a:pt x="12192000" y="5113800"/>
                </a:lnTo>
                <a:lnTo>
                  <a:pt x="8067950" y="5113800"/>
                </a:lnTo>
                <a:close/>
              </a:path>
            </a:pathLst>
          </a:custGeom>
          <a:noFill/>
        </p:spPr>
        <p:txBody>
          <a:bodyPr vert="horz" wrap="square" lIns="396000" tIns="0" rIns="396000" bIns="468000" rtlCol="0" anchor="ctr" anchorCtr="0">
            <a:noAutofit/>
          </a:bodyPr>
          <a:lstStyle>
            <a:lvl1pPr algn="r">
              <a:defRPr lang="en-US" sz="12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on area to add picture</a:t>
            </a:r>
          </a:p>
        </p:txBody>
      </p:sp>
      <p:grpSp>
        <p:nvGrpSpPr>
          <p:cNvPr id="104" name="Grid Decoration">
            <a:extLst>
              <a:ext uri="{FF2B5EF4-FFF2-40B4-BE49-F238E27FC236}">
                <a16:creationId xmlns:a16="http://schemas.microsoft.com/office/drawing/2014/main" id="{477C5741-C323-4904-A7E4-C6EE7E7C36B1}"/>
              </a:ext>
            </a:extLst>
          </p:cNvPr>
          <p:cNvGrpSpPr/>
          <p:nvPr/>
        </p:nvGrpSpPr>
        <p:grpSpPr bwMode="ltGray">
          <a:xfrm flipH="1">
            <a:off x="0" y="-12600"/>
            <a:ext cx="12192525" cy="6870600"/>
            <a:chOff x="-525" y="-12600"/>
            <a:chExt cx="12192525" cy="6870600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791930DD-37F9-4E5C-AF98-367271E48F65}"/>
                </a:ext>
              </a:extLst>
            </p:cNvPr>
            <p:cNvCxnSpPr/>
            <p:nvPr userDrawn="1"/>
          </p:nvCxnSpPr>
          <p:spPr bwMode="ltGray">
            <a:xfrm>
              <a:off x="0" y="5113338"/>
              <a:ext cx="121920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E4BECD12-13FA-465C-A5C9-F74D5C72FF86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0" y="5348288"/>
              <a:ext cx="4130675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717E3B37-8AD5-4342-A01B-490894F55388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-525" y="5582750"/>
              <a:ext cx="41312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8FFCDC22-4C05-4409-A1A2-BA40843B63B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-525" y="5817212"/>
              <a:ext cx="41312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42442ECD-8E60-46BA-93E9-034AD2F2952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V="1">
              <a:off x="-525" y="6049963"/>
              <a:ext cx="4131200" cy="1712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FF262152-E536-45B3-B42E-FF64534BE76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-525" y="6286136"/>
              <a:ext cx="41312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93DE0786-0311-432C-BF1C-0FC4484EB54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-525" y="6520598"/>
              <a:ext cx="41312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11A26A46-5A23-4E71-86B8-D42B8AE213D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V="1">
              <a:off x="-525" y="6751638"/>
              <a:ext cx="4131200" cy="3422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3932711A-14CB-4B7E-897F-0F43D5E5EA85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4130400" y="0"/>
              <a:ext cx="0" cy="68580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550FFE11-2228-4095-8213-B7DF694B07B1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071200" y="-12600"/>
              <a:ext cx="0" cy="68580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6976BF9B-BA80-4535-9BEE-4C96B17589FE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2000" y="2539800"/>
              <a:ext cx="41184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2973A65C-8424-4A10-A797-3CD4EB372522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2584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F9D055B9-1151-4A29-8BC8-F226B88C224E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884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8FC626A0-B95A-4A60-90B8-04C99A492EE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4456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1D2E554C-FE97-4D2B-BCC1-AB142412B25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6328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7F3C16FC-5417-4C75-B329-3F86AA17A1A7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820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F75E7C3B-12AE-4BB8-BBB5-6BDED40828A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0072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368D9680-1780-4095-A6A5-2D3C993B814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1944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BF97DB5B-2E43-4A4E-8C59-51F0966A4136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3816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87ACA9E8-0A0A-4BEC-B611-67DE5E820CA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5688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103294FB-D050-4427-B3A7-7AB40551D4A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756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6F44C384-B751-406C-BE7A-68C3296941EA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9432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Straight Connector 101">
              <a:extLst>
                <a:ext uri="{FF2B5EF4-FFF2-40B4-BE49-F238E27FC236}">
                  <a16:creationId xmlns:a16="http://schemas.microsoft.com/office/drawing/2014/main" id="{575287CC-10F4-4756-ACFF-FC235CC31B94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6968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Straight Connector 102">
              <a:extLst>
                <a:ext uri="{FF2B5EF4-FFF2-40B4-BE49-F238E27FC236}">
                  <a16:creationId xmlns:a16="http://schemas.microsoft.com/office/drawing/2014/main" id="{EBBA423D-CED0-4685-B301-48162C9D196A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5096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103">
              <a:extLst>
                <a:ext uri="{FF2B5EF4-FFF2-40B4-BE49-F238E27FC236}">
                  <a16:creationId xmlns:a16="http://schemas.microsoft.com/office/drawing/2014/main" id="{EF37AE5F-737F-47BB-8C7C-73008137DF0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3224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6AB332B4-661E-480F-B3A7-03A1659F61C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1352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8B801BD6-B64D-436A-A2C8-FE764D59FA3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948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82BFCE8B-EFDD-4BF9-8236-5088DA0366C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7608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C131BE53-9ED4-46DB-8379-0EAF4BA536FA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5736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096AB21B-7279-46BA-BE0B-765FFC84504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2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D078673B-947B-4697-BE71-880F0EEF3245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992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D75BB555-162A-44B2-96BD-4FB1C1A4B68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864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3" name="Logo">
            <a:extLst>
              <a:ext uri="{FF2B5EF4-FFF2-40B4-BE49-F238E27FC236}">
                <a16:creationId xmlns:a16="http://schemas.microsoft.com/office/drawing/2014/main" id="{66B4BCD1-6E4A-40C1-85DC-38A5A7EEA082}"/>
              </a:ext>
            </a:extLst>
          </p:cNvPr>
          <p:cNvSpPr>
            <a:spLocks noChangeAspect="1"/>
          </p:cNvSpPr>
          <p:nvPr/>
        </p:nvSpPr>
        <p:spPr bwMode="black">
          <a:xfrm>
            <a:off x="5992870" y="433388"/>
            <a:ext cx="1694330" cy="468412"/>
          </a:xfrm>
          <a:custGeom>
            <a:avLst/>
            <a:gdLst>
              <a:gd name="connsiteX0" fmla="*/ 322580 w 2575560"/>
              <a:gd name="connsiteY0" fmla="*/ 171554 h 719869"/>
              <a:gd name="connsiteX1" fmla="*/ 261620 w 2575560"/>
              <a:gd name="connsiteY1" fmla="*/ 452224 h 719869"/>
              <a:gd name="connsiteX2" fmla="*/ 384810 w 2575560"/>
              <a:gd name="connsiteY2" fmla="*/ 452224 h 719869"/>
              <a:gd name="connsiteX3" fmla="*/ 941070 w 2575560"/>
              <a:gd name="connsiteY3" fmla="*/ 157584 h 719869"/>
              <a:gd name="connsiteX4" fmla="*/ 892810 w 2575560"/>
              <a:gd name="connsiteY4" fmla="*/ 212194 h 719869"/>
              <a:gd name="connsiteX5" fmla="*/ 998220 w 2575560"/>
              <a:gd name="connsiteY5" fmla="*/ 293474 h 719869"/>
              <a:gd name="connsiteX6" fmla="*/ 1195070 w 2575560"/>
              <a:gd name="connsiteY6" fmla="*/ 500484 h 719869"/>
              <a:gd name="connsiteX7" fmla="*/ 1009650 w 2575560"/>
              <a:gd name="connsiteY7" fmla="*/ 703684 h 719869"/>
              <a:gd name="connsiteX8" fmla="*/ 687070 w 2575560"/>
              <a:gd name="connsiteY8" fmla="*/ 671934 h 719869"/>
              <a:gd name="connsiteX9" fmla="*/ 687070 w 2575560"/>
              <a:gd name="connsiteY9" fmla="*/ 506834 h 719869"/>
              <a:gd name="connsiteX10" fmla="*/ 876300 w 2575560"/>
              <a:gd name="connsiteY10" fmla="*/ 577954 h 719869"/>
              <a:gd name="connsiteX11" fmla="*/ 981710 w 2575560"/>
              <a:gd name="connsiteY11" fmla="*/ 500484 h 719869"/>
              <a:gd name="connsiteX12" fmla="*/ 909320 w 2575560"/>
              <a:gd name="connsiteY12" fmla="*/ 420474 h 719869"/>
              <a:gd name="connsiteX13" fmla="*/ 941070 w 2575560"/>
              <a:gd name="connsiteY13" fmla="*/ 157584 h 719869"/>
              <a:gd name="connsiteX14" fmla="*/ 2136140 w 2575560"/>
              <a:gd name="connsiteY14" fmla="*/ 20424 h 719869"/>
              <a:gd name="connsiteX15" fmla="*/ 2321560 w 2575560"/>
              <a:gd name="connsiteY15" fmla="*/ 20424 h 719869"/>
              <a:gd name="connsiteX16" fmla="*/ 2321560 w 2575560"/>
              <a:gd name="connsiteY16" fmla="*/ 562714 h 719869"/>
              <a:gd name="connsiteX17" fmla="*/ 2575560 w 2575560"/>
              <a:gd name="connsiteY17" fmla="*/ 562714 h 719869"/>
              <a:gd name="connsiteX18" fmla="*/ 2575560 w 2575560"/>
              <a:gd name="connsiteY18" fmla="*/ 706224 h 719869"/>
              <a:gd name="connsiteX19" fmla="*/ 2136140 w 2575560"/>
              <a:gd name="connsiteY19" fmla="*/ 706224 h 719869"/>
              <a:gd name="connsiteX20" fmla="*/ 1346200 w 2575560"/>
              <a:gd name="connsiteY20" fmla="*/ 20424 h 719869"/>
              <a:gd name="connsiteX21" fmla="*/ 1551940 w 2575560"/>
              <a:gd name="connsiteY21" fmla="*/ 20424 h 719869"/>
              <a:gd name="connsiteX22" fmla="*/ 1648460 w 2575560"/>
              <a:gd name="connsiteY22" fmla="*/ 431904 h 719869"/>
              <a:gd name="connsiteX23" fmla="*/ 1743710 w 2575560"/>
              <a:gd name="connsiteY23" fmla="*/ 20424 h 719869"/>
              <a:gd name="connsiteX24" fmla="*/ 1950720 w 2575560"/>
              <a:gd name="connsiteY24" fmla="*/ 20424 h 719869"/>
              <a:gd name="connsiteX25" fmla="*/ 2039620 w 2575560"/>
              <a:gd name="connsiteY25" fmla="*/ 706224 h 719869"/>
              <a:gd name="connsiteX26" fmla="*/ 1846580 w 2575560"/>
              <a:gd name="connsiteY26" fmla="*/ 706224 h 719869"/>
              <a:gd name="connsiteX27" fmla="*/ 1813560 w 2575560"/>
              <a:gd name="connsiteY27" fmla="*/ 274424 h 719869"/>
              <a:gd name="connsiteX28" fmla="*/ 1723390 w 2575560"/>
              <a:gd name="connsiteY28" fmla="*/ 706224 h 719869"/>
              <a:gd name="connsiteX29" fmla="*/ 1572260 w 2575560"/>
              <a:gd name="connsiteY29" fmla="*/ 706224 h 719869"/>
              <a:gd name="connsiteX30" fmla="*/ 1483360 w 2575560"/>
              <a:gd name="connsiteY30" fmla="*/ 274424 h 719869"/>
              <a:gd name="connsiteX31" fmla="*/ 1449070 w 2575560"/>
              <a:gd name="connsiteY31" fmla="*/ 706224 h 719869"/>
              <a:gd name="connsiteX32" fmla="*/ 1257300 w 2575560"/>
              <a:gd name="connsiteY32" fmla="*/ 706224 h 719869"/>
              <a:gd name="connsiteX33" fmla="*/ 205740 w 2575560"/>
              <a:gd name="connsiteY33" fmla="*/ 20424 h 719869"/>
              <a:gd name="connsiteX34" fmla="*/ 439420 w 2575560"/>
              <a:gd name="connsiteY34" fmla="*/ 20424 h 719869"/>
              <a:gd name="connsiteX35" fmla="*/ 645160 w 2575560"/>
              <a:gd name="connsiteY35" fmla="*/ 706224 h 719869"/>
              <a:gd name="connsiteX36" fmla="*/ 439420 w 2575560"/>
              <a:gd name="connsiteY36" fmla="*/ 706224 h 719869"/>
              <a:gd name="connsiteX37" fmla="*/ 411480 w 2575560"/>
              <a:gd name="connsiteY37" fmla="*/ 583034 h 719869"/>
              <a:gd name="connsiteX38" fmla="*/ 232410 w 2575560"/>
              <a:gd name="connsiteY38" fmla="*/ 583034 h 719869"/>
              <a:gd name="connsiteX39" fmla="*/ 204470 w 2575560"/>
              <a:gd name="connsiteY39" fmla="*/ 706224 h 719869"/>
              <a:gd name="connsiteX40" fmla="*/ 0 w 2575560"/>
              <a:gd name="connsiteY40" fmla="*/ 706224 h 719869"/>
              <a:gd name="connsiteX41" fmla="*/ 994112 w 2575560"/>
              <a:gd name="connsiteY41" fmla="*/ 422 h 719869"/>
              <a:gd name="connsiteX42" fmla="*/ 1140459 w 2575560"/>
              <a:gd name="connsiteY42" fmla="*/ 34395 h 719869"/>
              <a:gd name="connsiteX43" fmla="*/ 1140459 w 2575560"/>
              <a:gd name="connsiteY43" fmla="*/ 212195 h 719869"/>
              <a:gd name="connsiteX44" fmla="*/ 701040 w 2575560"/>
              <a:gd name="connsiteY44" fmla="*/ 260455 h 719869"/>
              <a:gd name="connsiteX45" fmla="*/ 994112 w 2575560"/>
              <a:gd name="connsiteY45" fmla="*/ 422 h 7198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2575560" h="719869">
                <a:moveTo>
                  <a:pt x="322580" y="171554"/>
                </a:moveTo>
                <a:lnTo>
                  <a:pt x="261620" y="452224"/>
                </a:lnTo>
                <a:lnTo>
                  <a:pt x="384810" y="452224"/>
                </a:lnTo>
                <a:close/>
                <a:moveTo>
                  <a:pt x="941070" y="157584"/>
                </a:moveTo>
                <a:cubicBezTo>
                  <a:pt x="900430" y="170284"/>
                  <a:pt x="892810" y="191874"/>
                  <a:pt x="892810" y="212194"/>
                </a:cubicBezTo>
                <a:cubicBezTo>
                  <a:pt x="892810" y="261724"/>
                  <a:pt x="955040" y="276964"/>
                  <a:pt x="998220" y="293474"/>
                </a:cubicBezTo>
                <a:cubicBezTo>
                  <a:pt x="1069340" y="320144"/>
                  <a:pt x="1195070" y="355704"/>
                  <a:pt x="1195070" y="500484"/>
                </a:cubicBezTo>
                <a:cubicBezTo>
                  <a:pt x="1195070" y="589384"/>
                  <a:pt x="1109980" y="673204"/>
                  <a:pt x="1009650" y="703684"/>
                </a:cubicBezTo>
                <a:cubicBezTo>
                  <a:pt x="885190" y="741784"/>
                  <a:pt x="763270" y="704954"/>
                  <a:pt x="687070" y="671934"/>
                </a:cubicBezTo>
                <a:lnTo>
                  <a:pt x="687070" y="506834"/>
                </a:lnTo>
                <a:cubicBezTo>
                  <a:pt x="750570" y="552554"/>
                  <a:pt x="806450" y="576684"/>
                  <a:pt x="876300" y="577954"/>
                </a:cubicBezTo>
                <a:cubicBezTo>
                  <a:pt x="918210" y="579224"/>
                  <a:pt x="981710" y="558904"/>
                  <a:pt x="981710" y="500484"/>
                </a:cubicBezTo>
                <a:cubicBezTo>
                  <a:pt x="981710" y="449684"/>
                  <a:pt x="935990" y="434444"/>
                  <a:pt x="909320" y="420474"/>
                </a:cubicBezTo>
                <a:cubicBezTo>
                  <a:pt x="758190" y="337924"/>
                  <a:pt x="803910" y="171554"/>
                  <a:pt x="941070" y="157584"/>
                </a:cubicBezTo>
                <a:close/>
                <a:moveTo>
                  <a:pt x="2136140" y="20424"/>
                </a:moveTo>
                <a:lnTo>
                  <a:pt x="2321560" y="20424"/>
                </a:lnTo>
                <a:lnTo>
                  <a:pt x="2321560" y="562714"/>
                </a:lnTo>
                <a:lnTo>
                  <a:pt x="2575560" y="562714"/>
                </a:lnTo>
                <a:lnTo>
                  <a:pt x="2575560" y="706224"/>
                </a:lnTo>
                <a:lnTo>
                  <a:pt x="2136140" y="706224"/>
                </a:lnTo>
                <a:close/>
                <a:moveTo>
                  <a:pt x="1346200" y="20424"/>
                </a:moveTo>
                <a:lnTo>
                  <a:pt x="1551940" y="20424"/>
                </a:lnTo>
                <a:lnTo>
                  <a:pt x="1648460" y="431904"/>
                </a:lnTo>
                <a:lnTo>
                  <a:pt x="1743710" y="20424"/>
                </a:lnTo>
                <a:lnTo>
                  <a:pt x="1950720" y="20424"/>
                </a:lnTo>
                <a:lnTo>
                  <a:pt x="2039620" y="706224"/>
                </a:lnTo>
                <a:lnTo>
                  <a:pt x="1846580" y="706224"/>
                </a:lnTo>
                <a:lnTo>
                  <a:pt x="1813560" y="274424"/>
                </a:lnTo>
                <a:lnTo>
                  <a:pt x="1723390" y="706224"/>
                </a:lnTo>
                <a:lnTo>
                  <a:pt x="1572260" y="706224"/>
                </a:lnTo>
                <a:lnTo>
                  <a:pt x="1483360" y="274424"/>
                </a:lnTo>
                <a:lnTo>
                  <a:pt x="1449070" y="706224"/>
                </a:lnTo>
                <a:lnTo>
                  <a:pt x="1257300" y="706224"/>
                </a:lnTo>
                <a:close/>
                <a:moveTo>
                  <a:pt x="205740" y="20424"/>
                </a:moveTo>
                <a:lnTo>
                  <a:pt x="439420" y="20424"/>
                </a:lnTo>
                <a:lnTo>
                  <a:pt x="645160" y="706224"/>
                </a:lnTo>
                <a:lnTo>
                  <a:pt x="439420" y="706224"/>
                </a:lnTo>
                <a:lnTo>
                  <a:pt x="411480" y="583034"/>
                </a:lnTo>
                <a:lnTo>
                  <a:pt x="232410" y="583034"/>
                </a:lnTo>
                <a:lnTo>
                  <a:pt x="204470" y="706224"/>
                </a:lnTo>
                <a:lnTo>
                  <a:pt x="0" y="706224"/>
                </a:lnTo>
                <a:close/>
                <a:moveTo>
                  <a:pt x="994112" y="422"/>
                </a:moveTo>
                <a:cubicBezTo>
                  <a:pt x="1046321" y="2724"/>
                  <a:pt x="1097597" y="14392"/>
                  <a:pt x="1140459" y="34395"/>
                </a:cubicBezTo>
                <a:cubicBezTo>
                  <a:pt x="1143000" y="75035"/>
                  <a:pt x="1146809" y="118215"/>
                  <a:pt x="1140459" y="212195"/>
                </a:cubicBezTo>
                <a:cubicBezTo>
                  <a:pt x="970280" y="63605"/>
                  <a:pt x="703580" y="123295"/>
                  <a:pt x="701040" y="260455"/>
                </a:cubicBezTo>
                <a:cubicBezTo>
                  <a:pt x="672465" y="70907"/>
                  <a:pt x="837486" y="-6483"/>
                  <a:pt x="994112" y="422"/>
                </a:cubicBezTo>
                <a:close/>
              </a:path>
            </a:pathLst>
          </a:custGeom>
          <a:solidFill>
            <a:srgbClr val="FFFFFF"/>
          </a:solidFill>
          <a:ln w="1270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MIO_AGENDA_IGNORE_NAVIGATION" hidden="1">
            <a:extLst>
              <a:ext uri="{FF2B5EF4-FFF2-40B4-BE49-F238E27FC236}">
                <a16:creationId xmlns:a16="http://schemas.microsoft.com/office/drawing/2014/main" id="{FDC5ACF3-2095-4CCB-B69B-BAAD8356247F}"/>
              </a:ext>
            </a:extLst>
          </p:cNvPr>
          <p:cNvSpPr/>
          <p:nvPr/>
        </p:nvSpPr>
        <p:spPr>
          <a:xfrm>
            <a:off x="11804960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9" name="MIO_AGENDA_IGNORE_CHAPTER_REFERENCE" hidden="1">
            <a:extLst>
              <a:ext uri="{FF2B5EF4-FFF2-40B4-BE49-F238E27FC236}">
                <a16:creationId xmlns:a16="http://schemas.microsoft.com/office/drawing/2014/main" id="{C759E26B-7FE4-470B-BFA8-6BC2F2DCC023}"/>
              </a:ext>
            </a:extLst>
          </p:cNvPr>
          <p:cNvSpPr/>
          <p:nvPr/>
        </p:nvSpPr>
        <p:spPr>
          <a:xfrm>
            <a:off x="11517578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0" name="Date Placeholder">
            <a:extLst>
              <a:ext uri="{FF2B5EF4-FFF2-40B4-BE49-F238E27FC236}">
                <a16:creationId xmlns:a16="http://schemas.microsoft.com/office/drawing/2014/main" id="{647B78B9-A503-40FD-AF98-15AB8F88095A}"/>
              </a:ext>
            </a:extLst>
          </p:cNvPr>
          <p:cNvSpPr>
            <a:spLocks noGrp="1"/>
          </p:cNvSpPr>
          <p:nvPr>
            <p:ph type="dt" sz="half" idx="8"/>
          </p:nvPr>
        </p:nvSpPr>
        <p:spPr>
          <a:xfrm>
            <a:off x="386926" y="3614462"/>
            <a:ext cx="5849475" cy="422938"/>
          </a:xfrm>
        </p:spPr>
        <p:txBody>
          <a:bodyPr wrap="square" anchor="b">
            <a:spAutoFit/>
          </a:bodyPr>
          <a:lstStyle>
            <a:lvl1pPr algn="l" defTabSz="374400">
              <a:lnSpc>
                <a:spcPct val="95000"/>
              </a:lnSpc>
              <a:spcAft>
                <a:spcPts val="737"/>
              </a:spcAft>
              <a:defRPr sz="1600" b="0" baseline="0">
                <a:solidFill>
                  <a:schemeClr val="bg1"/>
                </a:solidFill>
              </a:defRPr>
            </a:lvl1pPr>
          </a:lstStyle>
          <a:p>
            <a:fld id="{C66D73C7-993F-4C03-B710-2144807F30C5}" type="datetime4">
              <a:rPr lang="en-US"/>
              <a:pPr/>
              <a:t>October 24, 2023</a:t>
            </a:fld>
            <a:endParaRPr lang="en-US" dirty="0"/>
          </a:p>
        </p:txBody>
      </p:sp>
      <p:sp>
        <p:nvSpPr>
          <p:cNvPr id="56" name="Title">
            <a:extLst>
              <a:ext uri="{FF2B5EF4-FFF2-40B4-BE49-F238E27FC236}">
                <a16:creationId xmlns:a16="http://schemas.microsoft.com/office/drawing/2014/main" id="{C6842291-ECA2-419F-9FDE-5F0D1C885CA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6926" y="2025000"/>
            <a:ext cx="5849475" cy="467820"/>
          </a:xfrm>
        </p:spPr>
        <p:txBody>
          <a:bodyPr tIns="0" bIns="0" anchor="b"/>
          <a:lstStyle>
            <a:lvl1pPr algn="l" defTabSz="374400">
              <a:lnSpc>
                <a:spcPct val="95000"/>
              </a:lnSpc>
              <a:spcAft>
                <a:spcPts val="0"/>
              </a:spcAft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heading</a:t>
            </a:r>
          </a:p>
        </p:txBody>
      </p:sp>
      <p:sp>
        <p:nvSpPr>
          <p:cNvPr id="57" name="Subtitle">
            <a:extLst>
              <a:ext uri="{FF2B5EF4-FFF2-40B4-BE49-F238E27FC236}">
                <a16:creationId xmlns:a16="http://schemas.microsoft.com/office/drawing/2014/main" id="{2F1235BC-9462-4616-91F5-2C03AA42946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6926" y="2492819"/>
            <a:ext cx="5849475" cy="371784"/>
          </a:xfrm>
        </p:spPr>
        <p:txBody>
          <a:bodyPr wrap="square" tIns="3600">
            <a:noAutofit/>
          </a:bodyPr>
          <a:lstStyle>
            <a:lvl1pPr>
              <a:defRPr sz="2400" b="1" baseline="0">
                <a:solidFill>
                  <a:schemeClr val="bg1"/>
                </a:solidFill>
              </a:defRPr>
            </a:lvl1pPr>
            <a:lvl2pPr>
              <a:defRPr sz="2400" baseline="0"/>
            </a:lvl2pPr>
            <a:lvl3pPr>
              <a:defRPr sz="2400" baseline="0"/>
            </a:lvl3pPr>
            <a:lvl4pPr>
              <a:defRPr sz="2400" baseline="0"/>
            </a:lvl4pPr>
            <a:lvl5pPr>
              <a:defRPr sz="2400" baseline="0"/>
            </a:lvl5pPr>
            <a:lvl6pPr>
              <a:defRPr sz="2400" baseline="0"/>
            </a:lvl6pPr>
            <a:lvl7pPr>
              <a:defRPr sz="2400" baseline="0"/>
            </a:lvl7pPr>
            <a:lvl8pPr>
              <a:defRPr sz="2400" baseline="0"/>
            </a:lvl8pPr>
            <a:lvl9pPr>
              <a:defRPr sz="2400" baseline="0"/>
            </a:lvl9pPr>
          </a:lstStyle>
          <a:p>
            <a:r>
              <a:rPr lang="en-US" dirty="0"/>
              <a:t>Click to edit subheading</a:t>
            </a:r>
          </a:p>
        </p:txBody>
      </p:sp>
      <p:sp>
        <p:nvSpPr>
          <p:cNvPr id="58" name="Firstname Lastname">
            <a:extLst>
              <a:ext uri="{FF2B5EF4-FFF2-40B4-BE49-F238E27FC236}">
                <a16:creationId xmlns:a16="http://schemas.microsoft.com/office/drawing/2014/main" id="{65DFEF20-E93B-4E47-9759-0A3251D2E56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86400" y="3101490"/>
            <a:ext cx="5850000" cy="23120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First name Last name</a:t>
            </a:r>
          </a:p>
        </p:txBody>
      </p:sp>
      <p:sp>
        <p:nvSpPr>
          <p:cNvPr id="59" name="Position and Title">
            <a:extLst>
              <a:ext uri="{FF2B5EF4-FFF2-40B4-BE49-F238E27FC236}">
                <a16:creationId xmlns:a16="http://schemas.microsoft.com/office/drawing/2014/main" id="{EDD67CC3-05DB-42F1-8C06-E35E36F16A1E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86400" y="3335400"/>
            <a:ext cx="5850000" cy="233910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  <a:lvl2pPr>
              <a:defRPr baseline="0">
                <a:solidFill>
                  <a:schemeClr val="bg1"/>
                </a:solidFill>
              </a:defRPr>
            </a:lvl2pPr>
            <a:lvl3pPr>
              <a:defRPr baseline="0">
                <a:solidFill>
                  <a:schemeClr val="bg1"/>
                </a:solidFill>
              </a:defRPr>
            </a:lvl3pPr>
            <a:lvl4pPr>
              <a:defRPr baseline="0"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osition and Title</a:t>
            </a:r>
          </a:p>
        </p:txBody>
      </p:sp>
      <p:sp>
        <p:nvSpPr>
          <p:cNvPr id="61" name="Location">
            <a:extLst>
              <a:ext uri="{FF2B5EF4-FFF2-40B4-BE49-F238E27FC236}">
                <a16:creationId xmlns:a16="http://schemas.microsoft.com/office/drawing/2014/main" id="{C42A08FB-7D66-4F1F-B6EE-667DA0F0E6FC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86400" y="4037400"/>
            <a:ext cx="5850000" cy="233910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  <a:lvl2pPr>
              <a:defRPr baseline="0">
                <a:solidFill>
                  <a:schemeClr val="bg1"/>
                </a:solidFill>
              </a:defRPr>
            </a:lvl2pPr>
            <a:lvl3pPr>
              <a:defRPr baseline="0">
                <a:solidFill>
                  <a:schemeClr val="bg1"/>
                </a:solidFill>
              </a:defRPr>
            </a:lvl3pPr>
            <a:lvl4pPr>
              <a:defRPr baseline="0"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Location</a:t>
            </a:r>
          </a:p>
        </p:txBody>
      </p:sp>
      <p:sp>
        <p:nvSpPr>
          <p:cNvPr id="62" name="Version">
            <a:extLst>
              <a:ext uri="{FF2B5EF4-FFF2-40B4-BE49-F238E27FC236}">
                <a16:creationId xmlns:a16="http://schemas.microsoft.com/office/drawing/2014/main" id="{0A2C16C9-903A-4D1F-8880-2E77A8AEC44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386400" y="4645800"/>
            <a:ext cx="4867200" cy="280800"/>
          </a:xfrm>
          <a:noFill/>
        </p:spPr>
        <p:txBody>
          <a:bodyPr wrap="square" lIns="0" tIns="0" rIns="0" bIns="0" rtlCol="0" anchor="ctr" anchorCtr="0">
            <a:noAutofit/>
          </a:bodyPr>
          <a:lstStyle>
            <a:lvl1pPr>
              <a:defRPr lang="en-US" sz="1200" b="0" cap="all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105000"/>
              </a:lnSpc>
            </a:pPr>
            <a:r>
              <a:rPr lang="en-US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38437116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>
        <p15:guide id="1" pos="3958">
          <p15:clr>
            <a:srgbClr val="FFFFFF"/>
          </p15:clr>
        </p15:guide>
        <p15:guide id="2" orient="horz" pos="1276">
          <p15:clr>
            <a:srgbClr val="FFFFFF"/>
          </p15:clr>
        </p15:guide>
        <p15:guide id="3" orient="horz" pos="1570">
          <p15:clr>
            <a:srgbClr val="FFFFFF"/>
          </p15:clr>
        </p15:guide>
        <p15:guide id="4" orient="horz" pos="1806">
          <p15:clr>
            <a:srgbClr val="FFFFFF"/>
          </p15:clr>
        </p15:guide>
        <p15:guide id="5" pos="243">
          <p15:clr>
            <a:srgbClr val="FFFFFF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pter Slide 1" type="secHead" preserve="1">
  <p:cSld name="Chapter Slide 1">
    <p:bg>
      <p:bgPr>
        <a:gradFill>
          <a:gsLst>
            <a:gs pos="99000">
              <a:srgbClr val="00A3E0"/>
            </a:gs>
            <a:gs pos="1000">
              <a:srgbClr val="10069F"/>
            </a:gs>
          </a:gsLst>
          <a:lin ang="906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3" name="Hide background Logo">
            <a:extLst>
              <a:ext uri="{FF2B5EF4-FFF2-40B4-BE49-F238E27FC236}">
                <a16:creationId xmlns:a16="http://schemas.microsoft.com/office/drawing/2014/main" id="{9AA93AB3-0D1A-4E84-9AA9-73865D3A1A0A}"/>
              </a:ext>
            </a:extLst>
          </p:cNvPr>
          <p:cNvSpPr/>
          <p:nvPr userDrawn="1"/>
        </p:nvSpPr>
        <p:spPr>
          <a:xfrm>
            <a:off x="339600" y="6471000"/>
            <a:ext cx="748800" cy="2808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3" name="Grid Decoration">
            <a:extLst>
              <a:ext uri="{FF2B5EF4-FFF2-40B4-BE49-F238E27FC236}">
                <a16:creationId xmlns:a16="http://schemas.microsoft.com/office/drawing/2014/main" id="{AA8971F8-FB52-454C-8FDB-52AF1FBCDC2C}"/>
              </a:ext>
            </a:extLst>
          </p:cNvPr>
          <p:cNvGrpSpPr/>
          <p:nvPr/>
        </p:nvGrpSpPr>
        <p:grpSpPr bwMode="ltGray">
          <a:xfrm>
            <a:off x="0" y="0"/>
            <a:ext cx="12193200" cy="6858000"/>
            <a:chOff x="0" y="-446400"/>
            <a:chExt cx="12193200" cy="6858000"/>
          </a:xfrm>
        </p:grpSpPr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FB5F9863-5AFE-41E7-97DE-F8984FA81B3A}"/>
                </a:ext>
              </a:extLst>
            </p:cNvPr>
            <p:cNvCxnSpPr/>
            <p:nvPr userDrawn="1"/>
          </p:nvCxnSpPr>
          <p:spPr bwMode="ltGray">
            <a:xfrm>
              <a:off x="0" y="5135400"/>
              <a:ext cx="121920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C39978D1-DDDD-4B98-8B62-CD7AFBC9268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48792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4C6F4663-484C-4091-BF2B-5993DC37AFC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V="1">
              <a:off x="0" y="923400"/>
              <a:ext cx="12193200" cy="44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0CCEB45F-2DFA-4DEE-886F-2A49F60354D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8248525" y="-446400"/>
              <a:ext cx="0" cy="68580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FB12F43-F9BE-495F-8E87-6419F3D8D31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93720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528D14B7-E4FD-4544-BC13-85FDAC80DF12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04952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4C9BB5AC-7E27-4FA3-AFD0-423C6C67B3B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16184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A78D70B9-1884-4F5C-AAF6-E95D6758120D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8248800" y="2326960"/>
              <a:ext cx="39444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97C9EAFD-D2AE-464C-B65C-978465C1EB2A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8248800" y="3730520"/>
              <a:ext cx="39444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512D9B27-7620-4033-B8DC-DCFE3B066C86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5096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7" name="Picture Placeholder 31">
            <a:extLst>
              <a:ext uri="{FF2B5EF4-FFF2-40B4-BE49-F238E27FC236}">
                <a16:creationId xmlns:a16="http://schemas.microsoft.com/office/drawing/2014/main" id="{CDAA5588-47AD-4287-ACF7-E2D3E17343F3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8248800" y="0"/>
            <a:ext cx="3943200" cy="5581800"/>
          </a:xfrm>
          <a:noFill/>
        </p:spPr>
        <p:txBody>
          <a:bodyPr vert="horz" wrap="square" lIns="0" tIns="0" rIns="0" bIns="684000" rtlCol="0" anchor="ctr" anchorCtr="1">
            <a:noAutofit/>
          </a:bodyPr>
          <a:lstStyle>
            <a:lvl1pPr>
              <a:defRPr lang="en-US" sz="12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15B99960-ED2E-41BF-9A5D-86E1F78D50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5762" y="808200"/>
            <a:ext cx="7488638" cy="1965600"/>
          </a:xfrm>
        </p:spPr>
        <p:txBody>
          <a:bodyPr>
            <a:noAutofit/>
          </a:bodyPr>
          <a:lstStyle>
            <a:lvl1pPr>
              <a:lnSpc>
                <a:spcPct val="86000"/>
              </a:lnSpc>
              <a:defRPr sz="5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98BA9AF1-DB99-4BFC-9C64-16E4CFA001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6400" y="2773800"/>
            <a:ext cx="7488000" cy="1404000"/>
          </a:xfrm>
        </p:spPr>
        <p:txBody>
          <a:bodyPr tIns="3600"/>
          <a:lstStyle>
            <a:lvl1pPr>
              <a:lnSpc>
                <a:spcPct val="86000"/>
              </a:lnSpc>
              <a:defRPr sz="5400" baseline="0">
                <a:solidFill>
                  <a:schemeClr val="bg1"/>
                </a:solidFill>
              </a:defRPr>
            </a:lvl1pPr>
            <a:lvl2pPr>
              <a:defRPr sz="2400" baseline="0"/>
            </a:lvl2pPr>
            <a:lvl3pPr>
              <a:defRPr sz="2400" baseline="0"/>
            </a:lvl3pPr>
            <a:lvl4pPr>
              <a:defRPr sz="2400" baseline="0"/>
            </a:lvl4pPr>
            <a:lvl5pPr>
              <a:defRPr sz="2400" baseline="0"/>
            </a:lvl5pPr>
            <a:lvl6pPr>
              <a:defRPr sz="2400" baseline="0"/>
            </a:lvl6pPr>
            <a:lvl7pPr>
              <a:defRPr sz="2400" baseline="0"/>
            </a:lvl7pPr>
            <a:lvl8pPr>
              <a:defRPr sz="2400" baseline="0"/>
            </a:lvl8pPr>
            <a:lvl9pPr>
              <a:defRPr sz="2400" baseline="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24" name="MIO_AGENDA_IGNORE_NAVIGATION" hidden="1">
            <a:extLst>
              <a:ext uri="{FF2B5EF4-FFF2-40B4-BE49-F238E27FC236}">
                <a16:creationId xmlns:a16="http://schemas.microsoft.com/office/drawing/2014/main" id="{88860927-13CA-4929-8F7F-EB0BA3BEB9A3}"/>
              </a:ext>
            </a:extLst>
          </p:cNvPr>
          <p:cNvSpPr/>
          <p:nvPr/>
        </p:nvSpPr>
        <p:spPr>
          <a:xfrm>
            <a:off x="11804960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5" name="MIO_AGENDA_IGNORE_CHAPTER_REFERENCE" hidden="1">
            <a:extLst>
              <a:ext uri="{FF2B5EF4-FFF2-40B4-BE49-F238E27FC236}">
                <a16:creationId xmlns:a16="http://schemas.microsoft.com/office/drawing/2014/main" id="{3F8F58E6-264F-49BF-B46C-3E566C1C4182}"/>
              </a:ext>
            </a:extLst>
          </p:cNvPr>
          <p:cNvSpPr/>
          <p:nvPr/>
        </p:nvSpPr>
        <p:spPr>
          <a:xfrm>
            <a:off x="11517578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2" name="Logo">
            <a:extLst>
              <a:ext uri="{FF2B5EF4-FFF2-40B4-BE49-F238E27FC236}">
                <a16:creationId xmlns:a16="http://schemas.microsoft.com/office/drawing/2014/main" id="{5307DD17-86A9-4B5C-B16C-3B30F4057276}"/>
              </a:ext>
            </a:extLst>
          </p:cNvPr>
          <p:cNvSpPr>
            <a:spLocks/>
          </p:cNvSpPr>
          <p:nvPr userDrawn="1"/>
        </p:nvSpPr>
        <p:spPr bwMode="black">
          <a:xfrm>
            <a:off x="385763" y="6512963"/>
            <a:ext cx="538161" cy="150809"/>
          </a:xfrm>
          <a:custGeom>
            <a:avLst/>
            <a:gdLst>
              <a:gd name="connsiteX0" fmla="*/ 135721 w 1078169"/>
              <a:gd name="connsiteY0" fmla="*/ 71284 h 302134"/>
              <a:gd name="connsiteX1" fmla="*/ 109085 w 1078169"/>
              <a:gd name="connsiteY1" fmla="*/ 189249 h 302134"/>
              <a:gd name="connsiteX2" fmla="*/ 161091 w 1078169"/>
              <a:gd name="connsiteY2" fmla="*/ 189249 h 302134"/>
              <a:gd name="connsiteX3" fmla="*/ 394483 w 1078169"/>
              <a:gd name="connsiteY3" fmla="*/ 66210 h 302134"/>
              <a:gd name="connsiteX4" fmla="*/ 374189 w 1078169"/>
              <a:gd name="connsiteY4" fmla="*/ 89042 h 302134"/>
              <a:gd name="connsiteX5" fmla="*/ 418583 w 1078169"/>
              <a:gd name="connsiteY5" fmla="*/ 123290 h 302134"/>
              <a:gd name="connsiteX6" fmla="*/ 499763 w 1078169"/>
              <a:gd name="connsiteY6" fmla="*/ 210811 h 302134"/>
              <a:gd name="connsiteX7" fmla="*/ 422389 w 1078169"/>
              <a:gd name="connsiteY7" fmla="*/ 295797 h 302134"/>
              <a:gd name="connsiteX8" fmla="*/ 287933 w 1078169"/>
              <a:gd name="connsiteY8" fmla="*/ 281844 h 302134"/>
              <a:gd name="connsiteX9" fmla="*/ 287933 w 1078169"/>
              <a:gd name="connsiteY9" fmla="*/ 213348 h 302134"/>
              <a:gd name="connsiteX10" fmla="*/ 367845 w 1078169"/>
              <a:gd name="connsiteY10" fmla="*/ 242522 h 302134"/>
              <a:gd name="connsiteX11" fmla="*/ 412241 w 1078169"/>
              <a:gd name="connsiteY11" fmla="*/ 209543 h 302134"/>
              <a:gd name="connsiteX12" fmla="*/ 381797 w 1078169"/>
              <a:gd name="connsiteY12" fmla="*/ 176564 h 302134"/>
              <a:gd name="connsiteX13" fmla="*/ 394483 w 1078169"/>
              <a:gd name="connsiteY13" fmla="*/ 66210 h 302134"/>
              <a:gd name="connsiteX14" fmla="*/ 894245 w 1078169"/>
              <a:gd name="connsiteY14" fmla="*/ 9131 h 302134"/>
              <a:gd name="connsiteX15" fmla="*/ 972889 w 1078169"/>
              <a:gd name="connsiteY15" fmla="*/ 9131 h 302134"/>
              <a:gd name="connsiteX16" fmla="*/ 972889 w 1078169"/>
              <a:gd name="connsiteY16" fmla="*/ 236181 h 302134"/>
              <a:gd name="connsiteX17" fmla="*/ 1078169 w 1078169"/>
              <a:gd name="connsiteY17" fmla="*/ 236181 h 302134"/>
              <a:gd name="connsiteX18" fmla="*/ 1078169 w 1078169"/>
              <a:gd name="connsiteY18" fmla="*/ 295797 h 302134"/>
              <a:gd name="connsiteX19" fmla="*/ 894245 w 1078169"/>
              <a:gd name="connsiteY19" fmla="*/ 295797 h 302134"/>
              <a:gd name="connsiteX20" fmla="*/ 564453 w 1078169"/>
              <a:gd name="connsiteY20" fmla="*/ 9131 h 302134"/>
              <a:gd name="connsiteX21" fmla="*/ 650707 w 1078169"/>
              <a:gd name="connsiteY21" fmla="*/ 9131 h 302134"/>
              <a:gd name="connsiteX22" fmla="*/ 690029 w 1078169"/>
              <a:gd name="connsiteY22" fmla="*/ 181638 h 302134"/>
              <a:gd name="connsiteX23" fmla="*/ 730617 w 1078169"/>
              <a:gd name="connsiteY23" fmla="*/ 9131 h 302134"/>
              <a:gd name="connsiteX24" fmla="*/ 816873 w 1078169"/>
              <a:gd name="connsiteY24" fmla="*/ 9131 h 302134"/>
              <a:gd name="connsiteX25" fmla="*/ 854925 w 1078169"/>
              <a:gd name="connsiteY25" fmla="*/ 295797 h 302134"/>
              <a:gd name="connsiteX26" fmla="*/ 773745 w 1078169"/>
              <a:gd name="connsiteY26" fmla="*/ 295797 h 302134"/>
              <a:gd name="connsiteX27" fmla="*/ 759793 w 1078169"/>
              <a:gd name="connsiteY27" fmla="*/ 114411 h 302134"/>
              <a:gd name="connsiteX28" fmla="*/ 721739 w 1078169"/>
              <a:gd name="connsiteY28" fmla="*/ 295797 h 302134"/>
              <a:gd name="connsiteX29" fmla="*/ 658317 w 1078169"/>
              <a:gd name="connsiteY29" fmla="*/ 295797 h 302134"/>
              <a:gd name="connsiteX30" fmla="*/ 621533 w 1078169"/>
              <a:gd name="connsiteY30" fmla="*/ 114411 h 302134"/>
              <a:gd name="connsiteX31" fmla="*/ 607581 w 1078169"/>
              <a:gd name="connsiteY31" fmla="*/ 295797 h 302134"/>
              <a:gd name="connsiteX32" fmla="*/ 526401 w 1078169"/>
              <a:gd name="connsiteY32" fmla="*/ 295797 h 302134"/>
              <a:gd name="connsiteX33" fmla="*/ 86253 w 1078169"/>
              <a:gd name="connsiteY33" fmla="*/ 9131 h 302134"/>
              <a:gd name="connsiteX34" fmla="*/ 183923 w 1078169"/>
              <a:gd name="connsiteY34" fmla="*/ 9131 h 302134"/>
              <a:gd name="connsiteX35" fmla="*/ 270177 w 1078169"/>
              <a:gd name="connsiteY35" fmla="*/ 295797 h 302134"/>
              <a:gd name="connsiteX36" fmla="*/ 183923 w 1078169"/>
              <a:gd name="connsiteY36" fmla="*/ 295797 h 302134"/>
              <a:gd name="connsiteX37" fmla="*/ 172507 w 1078169"/>
              <a:gd name="connsiteY37" fmla="*/ 243791 h 302134"/>
              <a:gd name="connsiteX38" fmla="*/ 97669 w 1078169"/>
              <a:gd name="connsiteY38" fmla="*/ 243791 h 302134"/>
              <a:gd name="connsiteX39" fmla="*/ 86253 w 1078169"/>
              <a:gd name="connsiteY39" fmla="*/ 295797 h 302134"/>
              <a:gd name="connsiteX40" fmla="*/ 0 w 1078169"/>
              <a:gd name="connsiteY40" fmla="*/ 295797 h 302134"/>
              <a:gd name="connsiteX41" fmla="*/ 416643 w 1078169"/>
              <a:gd name="connsiteY41" fmla="*/ 173 h 302134"/>
              <a:gd name="connsiteX42" fmla="*/ 478201 w 1078169"/>
              <a:gd name="connsiteY42" fmla="*/ 14205 h 302134"/>
              <a:gd name="connsiteX43" fmla="*/ 478201 w 1078169"/>
              <a:gd name="connsiteY43" fmla="*/ 89043 h 302134"/>
              <a:gd name="connsiteX44" fmla="*/ 294277 w 1078169"/>
              <a:gd name="connsiteY44" fmla="*/ 109337 h 302134"/>
              <a:gd name="connsiteX45" fmla="*/ 416643 w 1078169"/>
              <a:gd name="connsiteY45" fmla="*/ 173 h 302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1078169" h="302134">
                <a:moveTo>
                  <a:pt x="135721" y="71284"/>
                </a:moveTo>
                <a:lnTo>
                  <a:pt x="109085" y="189249"/>
                </a:lnTo>
                <a:lnTo>
                  <a:pt x="161091" y="189249"/>
                </a:lnTo>
                <a:close/>
                <a:moveTo>
                  <a:pt x="394483" y="66210"/>
                </a:moveTo>
                <a:cubicBezTo>
                  <a:pt x="377993" y="71284"/>
                  <a:pt x="374189" y="80163"/>
                  <a:pt x="374189" y="89042"/>
                </a:cubicBezTo>
                <a:cubicBezTo>
                  <a:pt x="374189" y="109337"/>
                  <a:pt x="400825" y="115679"/>
                  <a:pt x="418583" y="123290"/>
                </a:cubicBezTo>
                <a:cubicBezTo>
                  <a:pt x="447757" y="134705"/>
                  <a:pt x="501033" y="148658"/>
                  <a:pt x="499763" y="210811"/>
                </a:cubicBezTo>
                <a:cubicBezTo>
                  <a:pt x="499763" y="247596"/>
                  <a:pt x="464247" y="283112"/>
                  <a:pt x="422389" y="295797"/>
                </a:cubicBezTo>
                <a:cubicBezTo>
                  <a:pt x="371653" y="311018"/>
                  <a:pt x="319645" y="295797"/>
                  <a:pt x="287933" y="281844"/>
                </a:cubicBezTo>
                <a:lnTo>
                  <a:pt x="287933" y="213348"/>
                </a:lnTo>
                <a:cubicBezTo>
                  <a:pt x="314573" y="231106"/>
                  <a:pt x="338671" y="242522"/>
                  <a:pt x="367845" y="242522"/>
                </a:cubicBezTo>
                <a:cubicBezTo>
                  <a:pt x="385605" y="242522"/>
                  <a:pt x="412241" y="233643"/>
                  <a:pt x="412241" y="209543"/>
                </a:cubicBezTo>
                <a:cubicBezTo>
                  <a:pt x="412241" y="189248"/>
                  <a:pt x="393215" y="182906"/>
                  <a:pt x="381797" y="176564"/>
                </a:cubicBezTo>
                <a:cubicBezTo>
                  <a:pt x="318377" y="142316"/>
                  <a:pt x="337403" y="72552"/>
                  <a:pt x="394483" y="66210"/>
                </a:cubicBezTo>
                <a:close/>
                <a:moveTo>
                  <a:pt x="894245" y="9131"/>
                </a:moveTo>
                <a:lnTo>
                  <a:pt x="972889" y="9131"/>
                </a:lnTo>
                <a:lnTo>
                  <a:pt x="972889" y="236181"/>
                </a:lnTo>
                <a:lnTo>
                  <a:pt x="1078169" y="236181"/>
                </a:lnTo>
                <a:lnTo>
                  <a:pt x="1078169" y="295797"/>
                </a:lnTo>
                <a:lnTo>
                  <a:pt x="894245" y="295797"/>
                </a:lnTo>
                <a:close/>
                <a:moveTo>
                  <a:pt x="564453" y="9131"/>
                </a:moveTo>
                <a:lnTo>
                  <a:pt x="650707" y="9131"/>
                </a:lnTo>
                <a:lnTo>
                  <a:pt x="690029" y="181638"/>
                </a:lnTo>
                <a:lnTo>
                  <a:pt x="730617" y="9131"/>
                </a:lnTo>
                <a:lnTo>
                  <a:pt x="816873" y="9131"/>
                </a:lnTo>
                <a:lnTo>
                  <a:pt x="854925" y="295797"/>
                </a:lnTo>
                <a:lnTo>
                  <a:pt x="773745" y="295797"/>
                </a:lnTo>
                <a:lnTo>
                  <a:pt x="759793" y="114411"/>
                </a:lnTo>
                <a:lnTo>
                  <a:pt x="721739" y="295797"/>
                </a:lnTo>
                <a:lnTo>
                  <a:pt x="658317" y="295797"/>
                </a:lnTo>
                <a:lnTo>
                  <a:pt x="621533" y="114411"/>
                </a:lnTo>
                <a:lnTo>
                  <a:pt x="607581" y="295797"/>
                </a:lnTo>
                <a:lnTo>
                  <a:pt x="526401" y="295797"/>
                </a:lnTo>
                <a:close/>
                <a:moveTo>
                  <a:pt x="86253" y="9131"/>
                </a:moveTo>
                <a:lnTo>
                  <a:pt x="183923" y="9131"/>
                </a:lnTo>
                <a:lnTo>
                  <a:pt x="270177" y="295797"/>
                </a:lnTo>
                <a:lnTo>
                  <a:pt x="183923" y="295797"/>
                </a:lnTo>
                <a:lnTo>
                  <a:pt x="172507" y="243791"/>
                </a:lnTo>
                <a:lnTo>
                  <a:pt x="97669" y="243791"/>
                </a:lnTo>
                <a:lnTo>
                  <a:pt x="86253" y="295797"/>
                </a:lnTo>
                <a:lnTo>
                  <a:pt x="0" y="295797"/>
                </a:lnTo>
                <a:close/>
                <a:moveTo>
                  <a:pt x="416643" y="173"/>
                </a:moveTo>
                <a:cubicBezTo>
                  <a:pt x="438563" y="1124"/>
                  <a:pt x="460127" y="5960"/>
                  <a:pt x="478201" y="14205"/>
                </a:cubicBezTo>
                <a:cubicBezTo>
                  <a:pt x="479469" y="31963"/>
                  <a:pt x="480737" y="49721"/>
                  <a:pt x="478201" y="89043"/>
                </a:cubicBezTo>
                <a:cubicBezTo>
                  <a:pt x="407169" y="26889"/>
                  <a:pt x="295545" y="52258"/>
                  <a:pt x="294277" y="109337"/>
                </a:cubicBezTo>
                <a:cubicBezTo>
                  <a:pt x="281911" y="29426"/>
                  <a:pt x="350883" y="-2681"/>
                  <a:pt x="416643" y="173"/>
                </a:cubicBezTo>
                <a:close/>
              </a:path>
            </a:pathLst>
          </a:custGeom>
          <a:solidFill>
            <a:schemeClr val="bg1"/>
          </a:solidFill>
          <a:ln w="1268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endParaRPr lang="en-US" sz="2400" baseline="0" dirty="0">
              <a:latin typeface="+mn-lt"/>
              <a:cs typeface="+mn-cs"/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CA08120-FAE8-4FF8-8A74-A6392B5F43E4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>
              <a:lnSpc>
                <a:spcPct val="110000"/>
              </a:lnSpc>
              <a:spcAft>
                <a:spcPts val="0"/>
              </a:spcAft>
            </a:pPr>
            <a:fld id="{4FE53AA8-8205-44C6-AA7D-3538EAC0F1CD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October 24, 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A6AF603-2E05-4A18-BD07-01E2B59E61BF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5B2B88A-C108-43E1-99A0-51A5C6561ABA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6057699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>
        <p15:guide id="1" orient="horz" pos="509">
          <p15:clr>
            <a:srgbClr val="FFFFFF"/>
          </p15:clr>
        </p15:guide>
        <p15:guide id="2" pos="243">
          <p15:clr>
            <a:srgbClr val="FFFFFF"/>
          </p15:clr>
        </p15:guide>
        <p15:guide id="3" pos="4960">
          <p15:clr>
            <a:srgbClr val="FFFFFF"/>
          </p15:clr>
        </p15:guide>
        <p15:guide id="4" orient="horz" pos="1747">
          <p15:clr>
            <a:srgbClr val="FFFFFF"/>
          </p15:clr>
        </p15:guide>
        <p15:guide id="5" orient="horz" pos="2632">
          <p15:clr>
            <a:srgbClr val="FFFFFF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pter Slide 2 &#10;light picture" preserve="1" userDrawn="1">
  <p:cSld name="Chapter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id Decoration">
            <a:extLst>
              <a:ext uri="{FF2B5EF4-FFF2-40B4-BE49-F238E27FC236}">
                <a16:creationId xmlns:a16="http://schemas.microsoft.com/office/drawing/2014/main" id="{774E18E1-C992-4162-B1EC-0650D0B80336}"/>
              </a:ext>
            </a:extLst>
          </p:cNvPr>
          <p:cNvGrpSpPr/>
          <p:nvPr/>
        </p:nvGrpSpPr>
        <p:grpSpPr bwMode="ltGray">
          <a:xfrm>
            <a:off x="0" y="0"/>
            <a:ext cx="12193200" cy="6858000"/>
            <a:chOff x="0" y="-446400"/>
            <a:chExt cx="12193200" cy="6858000"/>
          </a:xfrm>
        </p:grpSpPr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706B1598-EDE8-474C-8616-E3E2BC9D0CB7}"/>
                </a:ext>
              </a:extLst>
            </p:cNvPr>
            <p:cNvCxnSpPr/>
            <p:nvPr userDrawn="1"/>
          </p:nvCxnSpPr>
          <p:spPr bwMode="ltGray">
            <a:xfrm>
              <a:off x="0" y="5135400"/>
              <a:ext cx="12192000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DAA6FC05-D72B-4CDF-9B4A-9BE92C162CE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4879200" y="-446400"/>
              <a:ext cx="0" cy="55818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6D5A539-C0D0-42F3-A3B4-8CEC0599119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V="1">
              <a:off x="0" y="923400"/>
              <a:ext cx="12193200" cy="44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E6FB3BC4-9371-4632-BD28-7EC33F31679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8248525" y="-446400"/>
              <a:ext cx="0" cy="6858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3001F0BA-4780-4F20-803F-796D2E3378D5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9372000" y="-446400"/>
              <a:ext cx="0" cy="55818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AAB56068-0BA8-4D06-A50F-762DBC25FB2E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0495200" y="-446400"/>
              <a:ext cx="0" cy="55818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3E28C3A0-91EB-4D53-81C1-DD748B4B349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1618400" y="-446400"/>
              <a:ext cx="0" cy="55818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63CBFA43-A9E2-41D1-87ED-6D96CE297E41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8248800" y="2326960"/>
              <a:ext cx="3944400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EF9E1E8C-89B5-43FC-BFAD-F6B7083D66BD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8248800" y="3730520"/>
              <a:ext cx="3944400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7866AB9E-A9F5-4723-8306-82FCCE684AE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509600" y="-446400"/>
              <a:ext cx="0" cy="55818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Picture Placeholder 29">
            <a:extLst>
              <a:ext uri="{FF2B5EF4-FFF2-40B4-BE49-F238E27FC236}">
                <a16:creationId xmlns:a16="http://schemas.microsoft.com/office/drawing/2014/main" id="{6A8B8685-B671-45FF-BA2F-31E0A8223500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 bwMode="ltGray">
          <a:xfrm>
            <a:off x="0" y="0"/>
            <a:ext cx="12192000" cy="6858000"/>
          </a:xfrm>
          <a:custGeom>
            <a:avLst/>
            <a:gdLst>
              <a:gd name="connsiteX0" fmla="*/ 453507 w 12192000"/>
              <a:gd name="connsiteY0" fmla="*/ 6548544 h 6858000"/>
              <a:gd name="connsiteX1" fmla="*/ 466171 w 12192000"/>
              <a:gd name="connsiteY1" fmla="*/ 6607426 h 6858000"/>
              <a:gd name="connsiteX2" fmla="*/ 440212 w 12192000"/>
              <a:gd name="connsiteY2" fmla="*/ 6607426 h 6858000"/>
              <a:gd name="connsiteX3" fmla="*/ 582667 w 12192000"/>
              <a:gd name="connsiteY3" fmla="*/ 6546012 h 6858000"/>
              <a:gd name="connsiteX4" fmla="*/ 576335 w 12192000"/>
              <a:gd name="connsiteY4" fmla="*/ 6601094 h 6858000"/>
              <a:gd name="connsiteX5" fmla="*/ 591531 w 12192000"/>
              <a:gd name="connsiteY5" fmla="*/ 6617556 h 6858000"/>
              <a:gd name="connsiteX6" fmla="*/ 569371 w 12192000"/>
              <a:gd name="connsiteY6" fmla="*/ 6634017 h 6858000"/>
              <a:gd name="connsiteX7" fmla="*/ 529483 w 12192000"/>
              <a:gd name="connsiteY7" fmla="*/ 6619455 h 6858000"/>
              <a:gd name="connsiteX8" fmla="*/ 529483 w 12192000"/>
              <a:gd name="connsiteY8" fmla="*/ 6653645 h 6858000"/>
              <a:gd name="connsiteX9" fmla="*/ 596596 w 12192000"/>
              <a:gd name="connsiteY9" fmla="*/ 6660609 h 6858000"/>
              <a:gd name="connsiteX10" fmla="*/ 635217 w 12192000"/>
              <a:gd name="connsiteY10" fmla="*/ 6618189 h 6858000"/>
              <a:gd name="connsiteX11" fmla="*/ 594696 w 12192000"/>
              <a:gd name="connsiteY11" fmla="*/ 6574503 h 6858000"/>
              <a:gd name="connsiteX12" fmla="*/ 572537 w 12192000"/>
              <a:gd name="connsiteY12" fmla="*/ 6557408 h 6858000"/>
              <a:gd name="connsiteX13" fmla="*/ 582667 w 12192000"/>
              <a:gd name="connsiteY13" fmla="*/ 6546012 h 6858000"/>
              <a:gd name="connsiteX14" fmla="*/ 832120 w 12192000"/>
              <a:gd name="connsiteY14" fmla="*/ 6517521 h 6858000"/>
              <a:gd name="connsiteX15" fmla="*/ 832120 w 12192000"/>
              <a:gd name="connsiteY15" fmla="*/ 6660609 h 6858000"/>
              <a:gd name="connsiteX16" fmla="*/ 923924 w 12192000"/>
              <a:gd name="connsiteY16" fmla="*/ 6660609 h 6858000"/>
              <a:gd name="connsiteX17" fmla="*/ 923924 w 12192000"/>
              <a:gd name="connsiteY17" fmla="*/ 6630852 h 6858000"/>
              <a:gd name="connsiteX18" fmla="*/ 871374 w 12192000"/>
              <a:gd name="connsiteY18" fmla="*/ 6630852 h 6858000"/>
              <a:gd name="connsiteX19" fmla="*/ 871374 w 12192000"/>
              <a:gd name="connsiteY19" fmla="*/ 6517521 h 6858000"/>
              <a:gd name="connsiteX20" fmla="*/ 667506 w 12192000"/>
              <a:gd name="connsiteY20" fmla="*/ 6517521 h 6858000"/>
              <a:gd name="connsiteX21" fmla="*/ 648513 w 12192000"/>
              <a:gd name="connsiteY21" fmla="*/ 6660609 h 6858000"/>
              <a:gd name="connsiteX22" fmla="*/ 689033 w 12192000"/>
              <a:gd name="connsiteY22" fmla="*/ 6660609 h 6858000"/>
              <a:gd name="connsiteX23" fmla="*/ 695997 w 12192000"/>
              <a:gd name="connsiteY23" fmla="*/ 6570071 h 6858000"/>
              <a:gd name="connsiteX24" fmla="*/ 714358 w 12192000"/>
              <a:gd name="connsiteY24" fmla="*/ 6660609 h 6858000"/>
              <a:gd name="connsiteX25" fmla="*/ 746014 w 12192000"/>
              <a:gd name="connsiteY25" fmla="*/ 6660609 h 6858000"/>
              <a:gd name="connsiteX26" fmla="*/ 765009 w 12192000"/>
              <a:gd name="connsiteY26" fmla="*/ 6570071 h 6858000"/>
              <a:gd name="connsiteX27" fmla="*/ 771973 w 12192000"/>
              <a:gd name="connsiteY27" fmla="*/ 6660609 h 6858000"/>
              <a:gd name="connsiteX28" fmla="*/ 812493 w 12192000"/>
              <a:gd name="connsiteY28" fmla="*/ 6660609 h 6858000"/>
              <a:gd name="connsiteX29" fmla="*/ 793500 w 12192000"/>
              <a:gd name="connsiteY29" fmla="*/ 6517521 h 6858000"/>
              <a:gd name="connsiteX30" fmla="*/ 750446 w 12192000"/>
              <a:gd name="connsiteY30" fmla="*/ 6517521 h 6858000"/>
              <a:gd name="connsiteX31" fmla="*/ 730187 w 12192000"/>
              <a:gd name="connsiteY31" fmla="*/ 6603627 h 6858000"/>
              <a:gd name="connsiteX32" fmla="*/ 710559 w 12192000"/>
              <a:gd name="connsiteY32" fmla="*/ 6517521 h 6858000"/>
              <a:gd name="connsiteX33" fmla="*/ 428816 w 12192000"/>
              <a:gd name="connsiteY33" fmla="*/ 6517521 h 6858000"/>
              <a:gd name="connsiteX34" fmla="*/ 385763 w 12192000"/>
              <a:gd name="connsiteY34" fmla="*/ 6660609 h 6858000"/>
              <a:gd name="connsiteX35" fmla="*/ 428816 w 12192000"/>
              <a:gd name="connsiteY35" fmla="*/ 6660609 h 6858000"/>
              <a:gd name="connsiteX36" fmla="*/ 434514 w 12192000"/>
              <a:gd name="connsiteY36" fmla="*/ 6634651 h 6858000"/>
              <a:gd name="connsiteX37" fmla="*/ 471869 w 12192000"/>
              <a:gd name="connsiteY37" fmla="*/ 6634651 h 6858000"/>
              <a:gd name="connsiteX38" fmla="*/ 477567 w 12192000"/>
              <a:gd name="connsiteY38" fmla="*/ 6660609 h 6858000"/>
              <a:gd name="connsiteX39" fmla="*/ 520620 w 12192000"/>
              <a:gd name="connsiteY39" fmla="*/ 6660609 h 6858000"/>
              <a:gd name="connsiteX40" fmla="*/ 477567 w 12192000"/>
              <a:gd name="connsiteY40" fmla="*/ 6517521 h 6858000"/>
              <a:gd name="connsiteX41" fmla="*/ 593728 w 12192000"/>
              <a:gd name="connsiteY41" fmla="*/ 6513050 h 6858000"/>
              <a:gd name="connsiteX42" fmla="*/ 532650 w 12192000"/>
              <a:gd name="connsiteY42" fmla="*/ 6567538 h 6858000"/>
              <a:gd name="connsiteX43" fmla="*/ 624454 w 12192000"/>
              <a:gd name="connsiteY43" fmla="*/ 6557409 h 6858000"/>
              <a:gd name="connsiteX44" fmla="*/ 624454 w 12192000"/>
              <a:gd name="connsiteY44" fmla="*/ 6520054 h 6858000"/>
              <a:gd name="connsiteX45" fmla="*/ 593728 w 12192000"/>
              <a:gd name="connsiteY45" fmla="*/ 6513050 h 6858000"/>
              <a:gd name="connsiteX46" fmla="*/ 8248799 w 12192000"/>
              <a:gd name="connsiteY46" fmla="*/ 5588150 h 6858000"/>
              <a:gd name="connsiteX47" fmla="*/ 12192000 w 12192000"/>
              <a:gd name="connsiteY47" fmla="*/ 5588150 h 6858000"/>
              <a:gd name="connsiteX48" fmla="*/ 12192000 w 12192000"/>
              <a:gd name="connsiteY48" fmla="*/ 6858000 h 6858000"/>
              <a:gd name="connsiteX49" fmla="*/ 8248799 w 12192000"/>
              <a:gd name="connsiteY49" fmla="*/ 6858000 h 6858000"/>
              <a:gd name="connsiteX50" fmla="*/ 0 w 12192000"/>
              <a:gd name="connsiteY50" fmla="*/ 5588150 h 6858000"/>
              <a:gd name="connsiteX51" fmla="*/ 8242449 w 12192000"/>
              <a:gd name="connsiteY51" fmla="*/ 5588150 h 6858000"/>
              <a:gd name="connsiteX52" fmla="*/ 8242449 w 12192000"/>
              <a:gd name="connsiteY52" fmla="*/ 6858000 h 6858000"/>
              <a:gd name="connsiteX53" fmla="*/ 0 w 12192000"/>
              <a:gd name="connsiteY53" fmla="*/ 6858000 h 6858000"/>
              <a:gd name="connsiteX54" fmla="*/ 8248799 w 12192000"/>
              <a:gd name="connsiteY54" fmla="*/ 0 h 6858000"/>
              <a:gd name="connsiteX55" fmla="*/ 12192000 w 12192000"/>
              <a:gd name="connsiteY55" fmla="*/ 0 h 6858000"/>
              <a:gd name="connsiteX56" fmla="*/ 12192000 w 12192000"/>
              <a:gd name="connsiteY56" fmla="*/ 5581800 h 6858000"/>
              <a:gd name="connsiteX57" fmla="*/ 8248799 w 12192000"/>
              <a:gd name="connsiteY57" fmla="*/ 5581800 h 6858000"/>
              <a:gd name="connsiteX58" fmla="*/ 0 w 12192000"/>
              <a:gd name="connsiteY58" fmla="*/ 0 h 6858000"/>
              <a:gd name="connsiteX59" fmla="*/ 8242449 w 12192000"/>
              <a:gd name="connsiteY59" fmla="*/ 0 h 6858000"/>
              <a:gd name="connsiteX60" fmla="*/ 8242449 w 12192000"/>
              <a:gd name="connsiteY60" fmla="*/ 5581800 h 6858000"/>
              <a:gd name="connsiteX61" fmla="*/ 0 w 12192000"/>
              <a:gd name="connsiteY61" fmla="*/ 55818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12192000" h="6858000">
                <a:moveTo>
                  <a:pt x="453507" y="6548544"/>
                </a:moveTo>
                <a:lnTo>
                  <a:pt x="466171" y="6607426"/>
                </a:lnTo>
                <a:lnTo>
                  <a:pt x="440212" y="6607426"/>
                </a:lnTo>
                <a:close/>
                <a:moveTo>
                  <a:pt x="582667" y="6546012"/>
                </a:moveTo>
                <a:cubicBezTo>
                  <a:pt x="554176" y="6549177"/>
                  <a:pt x="544679" y="6584000"/>
                  <a:pt x="576335" y="6601094"/>
                </a:cubicBezTo>
                <a:cubicBezTo>
                  <a:pt x="582034" y="6604260"/>
                  <a:pt x="591531" y="6607426"/>
                  <a:pt x="591531" y="6617556"/>
                </a:cubicBezTo>
                <a:cubicBezTo>
                  <a:pt x="591531" y="6629585"/>
                  <a:pt x="578235" y="6634017"/>
                  <a:pt x="569371" y="6634017"/>
                </a:cubicBezTo>
                <a:cubicBezTo>
                  <a:pt x="554809" y="6634017"/>
                  <a:pt x="542780" y="6628319"/>
                  <a:pt x="529483" y="6619455"/>
                </a:cubicBezTo>
                <a:lnTo>
                  <a:pt x="529483" y="6653645"/>
                </a:lnTo>
                <a:cubicBezTo>
                  <a:pt x="545312" y="6660609"/>
                  <a:pt x="571271" y="6668207"/>
                  <a:pt x="596596" y="6660609"/>
                </a:cubicBezTo>
                <a:cubicBezTo>
                  <a:pt x="617489" y="6654277"/>
                  <a:pt x="635217" y="6636550"/>
                  <a:pt x="635217" y="6618189"/>
                </a:cubicBezTo>
                <a:cubicBezTo>
                  <a:pt x="635851" y="6587165"/>
                  <a:pt x="609258" y="6580201"/>
                  <a:pt x="594696" y="6574503"/>
                </a:cubicBezTo>
                <a:cubicBezTo>
                  <a:pt x="585832" y="6570704"/>
                  <a:pt x="572537" y="6567538"/>
                  <a:pt x="572537" y="6557408"/>
                </a:cubicBezTo>
                <a:cubicBezTo>
                  <a:pt x="572537" y="6552976"/>
                  <a:pt x="574436" y="6548544"/>
                  <a:pt x="582667" y="6546012"/>
                </a:cubicBezTo>
                <a:close/>
                <a:moveTo>
                  <a:pt x="832120" y="6517521"/>
                </a:moveTo>
                <a:lnTo>
                  <a:pt x="832120" y="6660609"/>
                </a:lnTo>
                <a:lnTo>
                  <a:pt x="923924" y="6660609"/>
                </a:lnTo>
                <a:lnTo>
                  <a:pt x="923924" y="6630852"/>
                </a:lnTo>
                <a:lnTo>
                  <a:pt x="871374" y="6630852"/>
                </a:lnTo>
                <a:lnTo>
                  <a:pt x="871374" y="6517521"/>
                </a:lnTo>
                <a:close/>
                <a:moveTo>
                  <a:pt x="667506" y="6517521"/>
                </a:moveTo>
                <a:lnTo>
                  <a:pt x="648513" y="6660609"/>
                </a:lnTo>
                <a:lnTo>
                  <a:pt x="689033" y="6660609"/>
                </a:lnTo>
                <a:lnTo>
                  <a:pt x="695997" y="6570071"/>
                </a:lnTo>
                <a:lnTo>
                  <a:pt x="714358" y="6660609"/>
                </a:lnTo>
                <a:lnTo>
                  <a:pt x="746014" y="6660609"/>
                </a:lnTo>
                <a:lnTo>
                  <a:pt x="765009" y="6570071"/>
                </a:lnTo>
                <a:lnTo>
                  <a:pt x="771973" y="6660609"/>
                </a:lnTo>
                <a:lnTo>
                  <a:pt x="812493" y="6660609"/>
                </a:lnTo>
                <a:lnTo>
                  <a:pt x="793500" y="6517521"/>
                </a:lnTo>
                <a:lnTo>
                  <a:pt x="750446" y="6517521"/>
                </a:lnTo>
                <a:lnTo>
                  <a:pt x="730187" y="6603627"/>
                </a:lnTo>
                <a:lnTo>
                  <a:pt x="710559" y="6517521"/>
                </a:lnTo>
                <a:close/>
                <a:moveTo>
                  <a:pt x="428816" y="6517521"/>
                </a:moveTo>
                <a:lnTo>
                  <a:pt x="385763" y="6660609"/>
                </a:lnTo>
                <a:lnTo>
                  <a:pt x="428816" y="6660609"/>
                </a:lnTo>
                <a:lnTo>
                  <a:pt x="434514" y="6634651"/>
                </a:lnTo>
                <a:lnTo>
                  <a:pt x="471869" y="6634651"/>
                </a:lnTo>
                <a:lnTo>
                  <a:pt x="477567" y="6660609"/>
                </a:lnTo>
                <a:lnTo>
                  <a:pt x="520620" y="6660609"/>
                </a:lnTo>
                <a:lnTo>
                  <a:pt x="477567" y="6517521"/>
                </a:lnTo>
                <a:close/>
                <a:moveTo>
                  <a:pt x="593728" y="6513050"/>
                </a:moveTo>
                <a:cubicBezTo>
                  <a:pt x="560904" y="6511625"/>
                  <a:pt x="526477" y="6527651"/>
                  <a:pt x="532650" y="6567538"/>
                </a:cubicBezTo>
                <a:cubicBezTo>
                  <a:pt x="533283" y="6539048"/>
                  <a:pt x="588999" y="6526385"/>
                  <a:pt x="624454" y="6557409"/>
                </a:cubicBezTo>
                <a:cubicBezTo>
                  <a:pt x="625720" y="6537781"/>
                  <a:pt x="625087" y="6528917"/>
                  <a:pt x="624454" y="6520054"/>
                </a:cubicBezTo>
                <a:cubicBezTo>
                  <a:pt x="615433" y="6515938"/>
                  <a:pt x="604669" y="6513524"/>
                  <a:pt x="593728" y="6513050"/>
                </a:cubicBezTo>
                <a:close/>
                <a:moveTo>
                  <a:pt x="8248799" y="5588150"/>
                </a:moveTo>
                <a:lnTo>
                  <a:pt x="12192000" y="5588150"/>
                </a:lnTo>
                <a:lnTo>
                  <a:pt x="12192000" y="6858000"/>
                </a:lnTo>
                <a:lnTo>
                  <a:pt x="8248799" y="6858000"/>
                </a:lnTo>
                <a:close/>
                <a:moveTo>
                  <a:pt x="0" y="5588150"/>
                </a:moveTo>
                <a:lnTo>
                  <a:pt x="8242449" y="5588150"/>
                </a:lnTo>
                <a:lnTo>
                  <a:pt x="8242449" y="6858000"/>
                </a:lnTo>
                <a:lnTo>
                  <a:pt x="0" y="6858000"/>
                </a:lnTo>
                <a:close/>
                <a:moveTo>
                  <a:pt x="8248799" y="0"/>
                </a:moveTo>
                <a:lnTo>
                  <a:pt x="12192000" y="0"/>
                </a:lnTo>
                <a:lnTo>
                  <a:pt x="12192000" y="5581800"/>
                </a:lnTo>
                <a:lnTo>
                  <a:pt x="8248799" y="5581800"/>
                </a:lnTo>
                <a:close/>
                <a:moveTo>
                  <a:pt x="0" y="0"/>
                </a:moveTo>
                <a:lnTo>
                  <a:pt x="8242449" y="0"/>
                </a:lnTo>
                <a:lnTo>
                  <a:pt x="8242449" y="5581800"/>
                </a:lnTo>
                <a:lnTo>
                  <a:pt x="0" y="5581800"/>
                </a:lnTo>
                <a:close/>
              </a:path>
            </a:pathLst>
          </a:custGeom>
          <a:solidFill>
            <a:schemeClr val="bg1">
              <a:alpha val="75000"/>
            </a:schemeClr>
          </a:solidFill>
          <a:effectLst>
            <a:innerShdw dist="6858000" dir="16200000">
              <a:schemeClr val="bg1">
                <a:alpha val="75000"/>
              </a:schemeClr>
            </a:innerShdw>
          </a:effectLst>
        </p:spPr>
        <p:txBody>
          <a:bodyPr vert="horz" wrap="square" lIns="0" tIns="0" rIns="396000" bIns="0" rtlCol="0" anchor="ctr" anchorCtr="0">
            <a:noAutofit/>
          </a:bodyPr>
          <a:lstStyle>
            <a:lvl1pPr algn="r">
              <a:defRPr lang="en-US" sz="1200" dirty="0">
                <a:ln>
                  <a:noFill/>
                </a:ln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on area to insert picture</a:t>
            </a:r>
          </a:p>
        </p:txBody>
      </p:sp>
      <p:sp>
        <p:nvSpPr>
          <p:cNvPr id="31" name="Subtitle">
            <a:extLst>
              <a:ext uri="{FF2B5EF4-FFF2-40B4-BE49-F238E27FC236}">
                <a16:creationId xmlns:a16="http://schemas.microsoft.com/office/drawing/2014/main" id="{31C5EDE2-43DD-43B3-BB7A-D62CA86A442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6400" y="2773800"/>
            <a:ext cx="7488000" cy="1404500"/>
          </a:xfrm>
          <a:custGeom>
            <a:avLst/>
            <a:gdLst>
              <a:gd name="connsiteX0" fmla="*/ 0 w 7488000"/>
              <a:gd name="connsiteY0" fmla="*/ 0 h 1404000"/>
              <a:gd name="connsiteX1" fmla="*/ 7488000 w 7488000"/>
              <a:gd name="connsiteY1" fmla="*/ 0 h 1404000"/>
              <a:gd name="connsiteX2" fmla="*/ 7488000 w 7488000"/>
              <a:gd name="connsiteY2" fmla="*/ 1404000 h 1404000"/>
              <a:gd name="connsiteX3" fmla="*/ 0 w 7488000"/>
              <a:gd name="connsiteY3" fmla="*/ 1404000 h 140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488000" h="1404000">
                <a:moveTo>
                  <a:pt x="0" y="0"/>
                </a:moveTo>
                <a:lnTo>
                  <a:pt x="7488000" y="0"/>
                </a:lnTo>
                <a:lnTo>
                  <a:pt x="7488000" y="1404000"/>
                </a:lnTo>
                <a:lnTo>
                  <a:pt x="0" y="1404000"/>
                </a:lnTo>
                <a:close/>
              </a:path>
            </a:pathLst>
          </a:custGeom>
        </p:spPr>
        <p:txBody>
          <a:bodyPr wrap="square" tIns="3600">
            <a:noAutofit/>
          </a:bodyPr>
          <a:lstStyle>
            <a:lvl1pPr>
              <a:lnSpc>
                <a:spcPct val="86000"/>
              </a:lnSpc>
              <a:defRPr sz="5400" baseline="0">
                <a:solidFill>
                  <a:schemeClr val="accent1"/>
                </a:solidFill>
              </a:defRPr>
            </a:lvl1pPr>
            <a:lvl2pPr>
              <a:defRPr sz="2400" baseline="0"/>
            </a:lvl2pPr>
            <a:lvl3pPr>
              <a:defRPr sz="2400" baseline="0"/>
            </a:lvl3pPr>
            <a:lvl4pPr>
              <a:defRPr sz="2400" baseline="0"/>
            </a:lvl4pPr>
            <a:lvl5pPr>
              <a:defRPr sz="2400" baseline="0"/>
            </a:lvl5pPr>
            <a:lvl6pPr>
              <a:defRPr sz="2400" baseline="0"/>
            </a:lvl6pPr>
            <a:lvl7pPr>
              <a:defRPr sz="2400" baseline="0"/>
            </a:lvl7pPr>
            <a:lvl8pPr>
              <a:defRPr sz="2400" baseline="0"/>
            </a:lvl8pPr>
            <a:lvl9pPr>
              <a:defRPr sz="2400" baseline="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15B99960-ED2E-41BF-9A5D-86E1F78D50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5762" y="808200"/>
            <a:ext cx="7488638" cy="1965600"/>
          </a:xfrm>
        </p:spPr>
        <p:txBody>
          <a:bodyPr>
            <a:noAutofit/>
          </a:bodyPr>
          <a:lstStyle>
            <a:lvl1pPr>
              <a:lnSpc>
                <a:spcPct val="86000"/>
              </a:lnSpc>
              <a:defRPr sz="5400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2" name="MIO_AGENDA_IGNORE_NAVIGATION" hidden="1">
            <a:extLst>
              <a:ext uri="{FF2B5EF4-FFF2-40B4-BE49-F238E27FC236}">
                <a16:creationId xmlns:a16="http://schemas.microsoft.com/office/drawing/2014/main" id="{7436A9C2-752F-4995-A51D-AE91EE48A611}"/>
              </a:ext>
            </a:extLst>
          </p:cNvPr>
          <p:cNvSpPr/>
          <p:nvPr/>
        </p:nvSpPr>
        <p:spPr>
          <a:xfrm>
            <a:off x="11804960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3" name="MIO_AGENDA_IGNORE_CHAPTER_REFERENCE" hidden="1">
            <a:extLst>
              <a:ext uri="{FF2B5EF4-FFF2-40B4-BE49-F238E27FC236}">
                <a16:creationId xmlns:a16="http://schemas.microsoft.com/office/drawing/2014/main" id="{11E14894-3CE6-409D-A8A1-D4A67320ADD6}"/>
              </a:ext>
            </a:extLst>
          </p:cNvPr>
          <p:cNvSpPr/>
          <p:nvPr/>
        </p:nvSpPr>
        <p:spPr>
          <a:xfrm>
            <a:off x="11517578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4E082-E024-4765-9547-F36CE94FD081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2E854DC7-FAAD-4AD7-A72A-54622E503044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October 24, 2023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50B8736-DAE3-4494-A952-94C6F86E5DD5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21F97BD-6511-40C2-9E6E-92C21C046012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 dirty="0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8476747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4960">
          <p15:clr>
            <a:srgbClr val="547EBF"/>
          </p15:clr>
        </p15:guide>
        <p15:guide id="2" orient="horz" pos="509">
          <p15:clr>
            <a:srgbClr val="547EBF"/>
          </p15:clr>
        </p15:guide>
        <p15:guide id="3" pos="243">
          <p15:clr>
            <a:srgbClr val="547EBF"/>
          </p15:clr>
        </p15:guide>
        <p15:guide id="4" orient="horz" pos="1747">
          <p15:clr>
            <a:srgbClr val="547EBF"/>
          </p15:clr>
        </p15:guide>
        <p15:guide id="5" orient="horz" pos="2632">
          <p15:clr>
            <a:srgbClr val="547EBF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pter Slide 4" preserve="1">
  <p:cSld name="Chapter Slide 4">
    <p:bg>
      <p:bgPr>
        <a:gradFill>
          <a:gsLst>
            <a:gs pos="99000">
              <a:srgbClr val="00A3E0"/>
            </a:gs>
            <a:gs pos="1000">
              <a:srgbClr val="10069F"/>
            </a:gs>
          </a:gsLst>
          <a:lin ang="906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2" name="Hide background Logo">
            <a:extLst>
              <a:ext uri="{FF2B5EF4-FFF2-40B4-BE49-F238E27FC236}">
                <a16:creationId xmlns:a16="http://schemas.microsoft.com/office/drawing/2014/main" id="{4136C739-EC55-45E2-B880-3847C17CF8BB}"/>
              </a:ext>
            </a:extLst>
          </p:cNvPr>
          <p:cNvSpPr/>
          <p:nvPr userDrawn="1"/>
        </p:nvSpPr>
        <p:spPr>
          <a:xfrm>
            <a:off x="339600" y="6471000"/>
            <a:ext cx="748800" cy="2808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3" name="Grid Decoration">
            <a:extLst>
              <a:ext uri="{FF2B5EF4-FFF2-40B4-BE49-F238E27FC236}">
                <a16:creationId xmlns:a16="http://schemas.microsoft.com/office/drawing/2014/main" id="{AA8971F8-FB52-454C-8FDB-52AF1FBCDC2C}"/>
              </a:ext>
            </a:extLst>
          </p:cNvPr>
          <p:cNvGrpSpPr/>
          <p:nvPr/>
        </p:nvGrpSpPr>
        <p:grpSpPr bwMode="ltGray">
          <a:xfrm flipH="1">
            <a:off x="0" y="0"/>
            <a:ext cx="12193200" cy="6858000"/>
            <a:chOff x="0" y="-446400"/>
            <a:chExt cx="12193200" cy="6858000"/>
          </a:xfrm>
        </p:grpSpPr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FB5F9863-5AFE-41E7-97DE-F8984FA81B3A}"/>
                </a:ext>
              </a:extLst>
            </p:cNvPr>
            <p:cNvCxnSpPr/>
            <p:nvPr userDrawn="1"/>
          </p:nvCxnSpPr>
          <p:spPr bwMode="ltGray">
            <a:xfrm>
              <a:off x="0" y="5135400"/>
              <a:ext cx="121920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C39978D1-DDDD-4B98-8B62-CD7AFBC9268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46932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4C6F4663-484C-4091-BF2B-5993DC37AFC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V="1">
              <a:off x="0" y="923400"/>
              <a:ext cx="12193200" cy="44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0CCEB45F-2DFA-4DEE-886F-2A49F60354D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8062800" y="-446400"/>
              <a:ext cx="0" cy="68580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FB12F43-F9BE-495F-8E87-6419F3D8D31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91860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528D14B7-E4FD-4544-BC13-85FDAC80DF12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03560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4C9BB5AC-7E27-4FA3-AFD0-423C6C67B3B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14792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A78D70B9-1884-4F5C-AAF6-E95D6758120D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8062800" y="2326960"/>
              <a:ext cx="41304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97C9EAFD-D2AE-464C-B65C-978465C1EB2A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8062800" y="3730520"/>
              <a:ext cx="41304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DF4DDF64-5C69-4AFA-9635-10096106A64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3236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7" name="Picture Placeholder 31">
            <a:extLst>
              <a:ext uri="{FF2B5EF4-FFF2-40B4-BE49-F238E27FC236}">
                <a16:creationId xmlns:a16="http://schemas.microsoft.com/office/drawing/2014/main" id="{CDAA5588-47AD-4287-ACF7-E2D3E17343F3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0" y="0"/>
            <a:ext cx="4130400" cy="5581800"/>
          </a:xfrm>
          <a:noFill/>
        </p:spPr>
        <p:txBody>
          <a:bodyPr vert="horz" wrap="square" lIns="0" tIns="0" rIns="0" bIns="684000" rtlCol="0" anchor="ctr" anchorCtr="1">
            <a:noAutofit/>
          </a:bodyPr>
          <a:lstStyle>
            <a:lvl1pPr>
              <a:defRPr lang="en-US" sz="12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15B99960-ED2E-41BF-9A5D-86E1F78D50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05325" y="808200"/>
            <a:ext cx="7113588" cy="1965600"/>
          </a:xfrm>
        </p:spPr>
        <p:txBody>
          <a:bodyPr>
            <a:noAutofit/>
          </a:bodyPr>
          <a:lstStyle>
            <a:lvl1pPr>
              <a:lnSpc>
                <a:spcPct val="86000"/>
              </a:lnSpc>
              <a:defRPr sz="5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98BA9AF1-DB99-4BFC-9C64-16E4CFA001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05325" y="2773800"/>
            <a:ext cx="7113588" cy="1404000"/>
          </a:xfrm>
        </p:spPr>
        <p:txBody>
          <a:bodyPr tIns="3600"/>
          <a:lstStyle>
            <a:lvl1pPr>
              <a:lnSpc>
                <a:spcPct val="86000"/>
              </a:lnSpc>
              <a:defRPr sz="5400" baseline="0">
                <a:solidFill>
                  <a:schemeClr val="bg1"/>
                </a:solidFill>
              </a:defRPr>
            </a:lvl1pPr>
            <a:lvl2pPr>
              <a:defRPr sz="2400" baseline="0"/>
            </a:lvl2pPr>
            <a:lvl3pPr>
              <a:defRPr sz="2400" baseline="0"/>
            </a:lvl3pPr>
            <a:lvl4pPr>
              <a:defRPr sz="2400" baseline="0"/>
            </a:lvl4pPr>
            <a:lvl5pPr>
              <a:defRPr sz="2400" baseline="0"/>
            </a:lvl5pPr>
            <a:lvl6pPr>
              <a:defRPr sz="2400" baseline="0"/>
            </a:lvl6pPr>
            <a:lvl7pPr>
              <a:defRPr sz="2400" baseline="0"/>
            </a:lvl7pPr>
            <a:lvl8pPr>
              <a:defRPr sz="2400" baseline="0"/>
            </a:lvl8pPr>
            <a:lvl9pPr>
              <a:defRPr sz="2400" baseline="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24" name="MIO_AGENDA_IGNORE_NAVIGATION" hidden="1">
            <a:extLst>
              <a:ext uri="{FF2B5EF4-FFF2-40B4-BE49-F238E27FC236}">
                <a16:creationId xmlns:a16="http://schemas.microsoft.com/office/drawing/2014/main" id="{5169554C-ED38-41F8-830C-EF173FD80926}"/>
              </a:ext>
            </a:extLst>
          </p:cNvPr>
          <p:cNvSpPr/>
          <p:nvPr/>
        </p:nvSpPr>
        <p:spPr>
          <a:xfrm>
            <a:off x="11804960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5" name="MIO_AGENDA_IGNORE_CHAPTER_REFERENCE" hidden="1">
            <a:extLst>
              <a:ext uri="{FF2B5EF4-FFF2-40B4-BE49-F238E27FC236}">
                <a16:creationId xmlns:a16="http://schemas.microsoft.com/office/drawing/2014/main" id="{F0815C98-6F33-481C-B400-1F08952FA7B4}"/>
              </a:ext>
            </a:extLst>
          </p:cNvPr>
          <p:cNvSpPr/>
          <p:nvPr/>
        </p:nvSpPr>
        <p:spPr>
          <a:xfrm>
            <a:off x="11517578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3" name="Logo">
            <a:extLst>
              <a:ext uri="{FF2B5EF4-FFF2-40B4-BE49-F238E27FC236}">
                <a16:creationId xmlns:a16="http://schemas.microsoft.com/office/drawing/2014/main" id="{364DBF74-98A0-4E0A-A943-3BF4DFA456E1}"/>
              </a:ext>
            </a:extLst>
          </p:cNvPr>
          <p:cNvSpPr>
            <a:spLocks/>
          </p:cNvSpPr>
          <p:nvPr userDrawn="1"/>
        </p:nvSpPr>
        <p:spPr bwMode="black">
          <a:xfrm>
            <a:off x="385763" y="6512963"/>
            <a:ext cx="538161" cy="150809"/>
          </a:xfrm>
          <a:custGeom>
            <a:avLst/>
            <a:gdLst>
              <a:gd name="connsiteX0" fmla="*/ 135721 w 1078169"/>
              <a:gd name="connsiteY0" fmla="*/ 71284 h 302134"/>
              <a:gd name="connsiteX1" fmla="*/ 109085 w 1078169"/>
              <a:gd name="connsiteY1" fmla="*/ 189249 h 302134"/>
              <a:gd name="connsiteX2" fmla="*/ 161091 w 1078169"/>
              <a:gd name="connsiteY2" fmla="*/ 189249 h 302134"/>
              <a:gd name="connsiteX3" fmla="*/ 394483 w 1078169"/>
              <a:gd name="connsiteY3" fmla="*/ 66210 h 302134"/>
              <a:gd name="connsiteX4" fmla="*/ 374189 w 1078169"/>
              <a:gd name="connsiteY4" fmla="*/ 89042 h 302134"/>
              <a:gd name="connsiteX5" fmla="*/ 418583 w 1078169"/>
              <a:gd name="connsiteY5" fmla="*/ 123290 h 302134"/>
              <a:gd name="connsiteX6" fmla="*/ 499763 w 1078169"/>
              <a:gd name="connsiteY6" fmla="*/ 210811 h 302134"/>
              <a:gd name="connsiteX7" fmla="*/ 422389 w 1078169"/>
              <a:gd name="connsiteY7" fmla="*/ 295797 h 302134"/>
              <a:gd name="connsiteX8" fmla="*/ 287933 w 1078169"/>
              <a:gd name="connsiteY8" fmla="*/ 281844 h 302134"/>
              <a:gd name="connsiteX9" fmla="*/ 287933 w 1078169"/>
              <a:gd name="connsiteY9" fmla="*/ 213348 h 302134"/>
              <a:gd name="connsiteX10" fmla="*/ 367845 w 1078169"/>
              <a:gd name="connsiteY10" fmla="*/ 242522 h 302134"/>
              <a:gd name="connsiteX11" fmla="*/ 412241 w 1078169"/>
              <a:gd name="connsiteY11" fmla="*/ 209543 h 302134"/>
              <a:gd name="connsiteX12" fmla="*/ 381797 w 1078169"/>
              <a:gd name="connsiteY12" fmla="*/ 176564 h 302134"/>
              <a:gd name="connsiteX13" fmla="*/ 394483 w 1078169"/>
              <a:gd name="connsiteY13" fmla="*/ 66210 h 302134"/>
              <a:gd name="connsiteX14" fmla="*/ 894245 w 1078169"/>
              <a:gd name="connsiteY14" fmla="*/ 9131 h 302134"/>
              <a:gd name="connsiteX15" fmla="*/ 972889 w 1078169"/>
              <a:gd name="connsiteY15" fmla="*/ 9131 h 302134"/>
              <a:gd name="connsiteX16" fmla="*/ 972889 w 1078169"/>
              <a:gd name="connsiteY16" fmla="*/ 236181 h 302134"/>
              <a:gd name="connsiteX17" fmla="*/ 1078169 w 1078169"/>
              <a:gd name="connsiteY17" fmla="*/ 236181 h 302134"/>
              <a:gd name="connsiteX18" fmla="*/ 1078169 w 1078169"/>
              <a:gd name="connsiteY18" fmla="*/ 295797 h 302134"/>
              <a:gd name="connsiteX19" fmla="*/ 894245 w 1078169"/>
              <a:gd name="connsiteY19" fmla="*/ 295797 h 302134"/>
              <a:gd name="connsiteX20" fmla="*/ 564453 w 1078169"/>
              <a:gd name="connsiteY20" fmla="*/ 9131 h 302134"/>
              <a:gd name="connsiteX21" fmla="*/ 650707 w 1078169"/>
              <a:gd name="connsiteY21" fmla="*/ 9131 h 302134"/>
              <a:gd name="connsiteX22" fmla="*/ 690029 w 1078169"/>
              <a:gd name="connsiteY22" fmla="*/ 181638 h 302134"/>
              <a:gd name="connsiteX23" fmla="*/ 730617 w 1078169"/>
              <a:gd name="connsiteY23" fmla="*/ 9131 h 302134"/>
              <a:gd name="connsiteX24" fmla="*/ 816873 w 1078169"/>
              <a:gd name="connsiteY24" fmla="*/ 9131 h 302134"/>
              <a:gd name="connsiteX25" fmla="*/ 854925 w 1078169"/>
              <a:gd name="connsiteY25" fmla="*/ 295797 h 302134"/>
              <a:gd name="connsiteX26" fmla="*/ 773745 w 1078169"/>
              <a:gd name="connsiteY26" fmla="*/ 295797 h 302134"/>
              <a:gd name="connsiteX27" fmla="*/ 759793 w 1078169"/>
              <a:gd name="connsiteY27" fmla="*/ 114411 h 302134"/>
              <a:gd name="connsiteX28" fmla="*/ 721739 w 1078169"/>
              <a:gd name="connsiteY28" fmla="*/ 295797 h 302134"/>
              <a:gd name="connsiteX29" fmla="*/ 658317 w 1078169"/>
              <a:gd name="connsiteY29" fmla="*/ 295797 h 302134"/>
              <a:gd name="connsiteX30" fmla="*/ 621533 w 1078169"/>
              <a:gd name="connsiteY30" fmla="*/ 114411 h 302134"/>
              <a:gd name="connsiteX31" fmla="*/ 607581 w 1078169"/>
              <a:gd name="connsiteY31" fmla="*/ 295797 h 302134"/>
              <a:gd name="connsiteX32" fmla="*/ 526401 w 1078169"/>
              <a:gd name="connsiteY32" fmla="*/ 295797 h 302134"/>
              <a:gd name="connsiteX33" fmla="*/ 86253 w 1078169"/>
              <a:gd name="connsiteY33" fmla="*/ 9131 h 302134"/>
              <a:gd name="connsiteX34" fmla="*/ 183923 w 1078169"/>
              <a:gd name="connsiteY34" fmla="*/ 9131 h 302134"/>
              <a:gd name="connsiteX35" fmla="*/ 270177 w 1078169"/>
              <a:gd name="connsiteY35" fmla="*/ 295797 h 302134"/>
              <a:gd name="connsiteX36" fmla="*/ 183923 w 1078169"/>
              <a:gd name="connsiteY36" fmla="*/ 295797 h 302134"/>
              <a:gd name="connsiteX37" fmla="*/ 172507 w 1078169"/>
              <a:gd name="connsiteY37" fmla="*/ 243791 h 302134"/>
              <a:gd name="connsiteX38" fmla="*/ 97669 w 1078169"/>
              <a:gd name="connsiteY38" fmla="*/ 243791 h 302134"/>
              <a:gd name="connsiteX39" fmla="*/ 86253 w 1078169"/>
              <a:gd name="connsiteY39" fmla="*/ 295797 h 302134"/>
              <a:gd name="connsiteX40" fmla="*/ 0 w 1078169"/>
              <a:gd name="connsiteY40" fmla="*/ 295797 h 302134"/>
              <a:gd name="connsiteX41" fmla="*/ 416643 w 1078169"/>
              <a:gd name="connsiteY41" fmla="*/ 173 h 302134"/>
              <a:gd name="connsiteX42" fmla="*/ 478201 w 1078169"/>
              <a:gd name="connsiteY42" fmla="*/ 14205 h 302134"/>
              <a:gd name="connsiteX43" fmla="*/ 478201 w 1078169"/>
              <a:gd name="connsiteY43" fmla="*/ 89043 h 302134"/>
              <a:gd name="connsiteX44" fmla="*/ 294277 w 1078169"/>
              <a:gd name="connsiteY44" fmla="*/ 109337 h 302134"/>
              <a:gd name="connsiteX45" fmla="*/ 416643 w 1078169"/>
              <a:gd name="connsiteY45" fmla="*/ 173 h 302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1078169" h="302134">
                <a:moveTo>
                  <a:pt x="135721" y="71284"/>
                </a:moveTo>
                <a:lnTo>
                  <a:pt x="109085" y="189249"/>
                </a:lnTo>
                <a:lnTo>
                  <a:pt x="161091" y="189249"/>
                </a:lnTo>
                <a:close/>
                <a:moveTo>
                  <a:pt x="394483" y="66210"/>
                </a:moveTo>
                <a:cubicBezTo>
                  <a:pt x="377993" y="71284"/>
                  <a:pt x="374189" y="80163"/>
                  <a:pt x="374189" y="89042"/>
                </a:cubicBezTo>
                <a:cubicBezTo>
                  <a:pt x="374189" y="109337"/>
                  <a:pt x="400825" y="115679"/>
                  <a:pt x="418583" y="123290"/>
                </a:cubicBezTo>
                <a:cubicBezTo>
                  <a:pt x="447757" y="134705"/>
                  <a:pt x="501033" y="148658"/>
                  <a:pt x="499763" y="210811"/>
                </a:cubicBezTo>
                <a:cubicBezTo>
                  <a:pt x="499763" y="247596"/>
                  <a:pt x="464247" y="283112"/>
                  <a:pt x="422389" y="295797"/>
                </a:cubicBezTo>
                <a:cubicBezTo>
                  <a:pt x="371653" y="311018"/>
                  <a:pt x="319645" y="295797"/>
                  <a:pt x="287933" y="281844"/>
                </a:cubicBezTo>
                <a:lnTo>
                  <a:pt x="287933" y="213348"/>
                </a:lnTo>
                <a:cubicBezTo>
                  <a:pt x="314573" y="231106"/>
                  <a:pt x="338671" y="242522"/>
                  <a:pt x="367845" y="242522"/>
                </a:cubicBezTo>
                <a:cubicBezTo>
                  <a:pt x="385605" y="242522"/>
                  <a:pt x="412241" y="233643"/>
                  <a:pt x="412241" y="209543"/>
                </a:cubicBezTo>
                <a:cubicBezTo>
                  <a:pt x="412241" y="189248"/>
                  <a:pt x="393215" y="182906"/>
                  <a:pt x="381797" y="176564"/>
                </a:cubicBezTo>
                <a:cubicBezTo>
                  <a:pt x="318377" y="142316"/>
                  <a:pt x="337403" y="72552"/>
                  <a:pt x="394483" y="66210"/>
                </a:cubicBezTo>
                <a:close/>
                <a:moveTo>
                  <a:pt x="894245" y="9131"/>
                </a:moveTo>
                <a:lnTo>
                  <a:pt x="972889" y="9131"/>
                </a:lnTo>
                <a:lnTo>
                  <a:pt x="972889" y="236181"/>
                </a:lnTo>
                <a:lnTo>
                  <a:pt x="1078169" y="236181"/>
                </a:lnTo>
                <a:lnTo>
                  <a:pt x="1078169" y="295797"/>
                </a:lnTo>
                <a:lnTo>
                  <a:pt x="894245" y="295797"/>
                </a:lnTo>
                <a:close/>
                <a:moveTo>
                  <a:pt x="564453" y="9131"/>
                </a:moveTo>
                <a:lnTo>
                  <a:pt x="650707" y="9131"/>
                </a:lnTo>
                <a:lnTo>
                  <a:pt x="690029" y="181638"/>
                </a:lnTo>
                <a:lnTo>
                  <a:pt x="730617" y="9131"/>
                </a:lnTo>
                <a:lnTo>
                  <a:pt x="816873" y="9131"/>
                </a:lnTo>
                <a:lnTo>
                  <a:pt x="854925" y="295797"/>
                </a:lnTo>
                <a:lnTo>
                  <a:pt x="773745" y="295797"/>
                </a:lnTo>
                <a:lnTo>
                  <a:pt x="759793" y="114411"/>
                </a:lnTo>
                <a:lnTo>
                  <a:pt x="721739" y="295797"/>
                </a:lnTo>
                <a:lnTo>
                  <a:pt x="658317" y="295797"/>
                </a:lnTo>
                <a:lnTo>
                  <a:pt x="621533" y="114411"/>
                </a:lnTo>
                <a:lnTo>
                  <a:pt x="607581" y="295797"/>
                </a:lnTo>
                <a:lnTo>
                  <a:pt x="526401" y="295797"/>
                </a:lnTo>
                <a:close/>
                <a:moveTo>
                  <a:pt x="86253" y="9131"/>
                </a:moveTo>
                <a:lnTo>
                  <a:pt x="183923" y="9131"/>
                </a:lnTo>
                <a:lnTo>
                  <a:pt x="270177" y="295797"/>
                </a:lnTo>
                <a:lnTo>
                  <a:pt x="183923" y="295797"/>
                </a:lnTo>
                <a:lnTo>
                  <a:pt x="172507" y="243791"/>
                </a:lnTo>
                <a:lnTo>
                  <a:pt x="97669" y="243791"/>
                </a:lnTo>
                <a:lnTo>
                  <a:pt x="86253" y="295797"/>
                </a:lnTo>
                <a:lnTo>
                  <a:pt x="0" y="295797"/>
                </a:lnTo>
                <a:close/>
                <a:moveTo>
                  <a:pt x="416643" y="173"/>
                </a:moveTo>
                <a:cubicBezTo>
                  <a:pt x="438563" y="1124"/>
                  <a:pt x="460127" y="5960"/>
                  <a:pt x="478201" y="14205"/>
                </a:cubicBezTo>
                <a:cubicBezTo>
                  <a:pt x="479469" y="31963"/>
                  <a:pt x="480737" y="49721"/>
                  <a:pt x="478201" y="89043"/>
                </a:cubicBezTo>
                <a:cubicBezTo>
                  <a:pt x="407169" y="26889"/>
                  <a:pt x="295545" y="52258"/>
                  <a:pt x="294277" y="109337"/>
                </a:cubicBezTo>
                <a:cubicBezTo>
                  <a:pt x="281911" y="29426"/>
                  <a:pt x="350883" y="-2681"/>
                  <a:pt x="416643" y="173"/>
                </a:cubicBezTo>
                <a:close/>
              </a:path>
            </a:pathLst>
          </a:custGeom>
          <a:solidFill>
            <a:schemeClr val="bg1"/>
          </a:solidFill>
          <a:ln w="1268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endParaRPr lang="en-US" sz="2400" baseline="0" dirty="0">
              <a:latin typeface="+mn-lt"/>
              <a:cs typeface="+mn-cs"/>
            </a:endParaRP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2B22322-7498-40F8-BEAB-2B540EAD49E7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lnSpc>
                <a:spcPct val="110000"/>
              </a:lnSpc>
              <a:spcAft>
                <a:spcPts val="0"/>
              </a:spcAft>
            </a:pPr>
            <a:fld id="{41C53B78-E616-423D-9CC7-E40543DBA806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October 24, 2023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C1F0FCF-AFC4-4BF8-A68B-2DC81BF170EB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AC8B372-2A1E-4510-B277-0C385ECF8798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48474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>
        <p15:guide id="1" pos="2838">
          <p15:clr>
            <a:srgbClr val="FFFFFF"/>
          </p15:clr>
        </p15:guide>
        <p15:guide id="2" pos="7319">
          <p15:clr>
            <a:srgbClr val="FFFFFF"/>
          </p15:clr>
        </p15:guide>
        <p15:guide id="3" orient="horz" pos="509">
          <p15:clr>
            <a:srgbClr val="FFFFFF"/>
          </p15:clr>
        </p15:guide>
        <p15:guide id="4" orient="horz" pos="1747">
          <p15:clr>
            <a:srgbClr val="FFFFFF"/>
          </p15:clr>
        </p15:guide>
        <p15:guide id="5" orient="horz" pos="2632">
          <p15:clr>
            <a:srgbClr val="FFFFFF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2 Contents" type="twoObj" preserve="1">
  <p:cSld name="Title 2 Conten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1" name="Content Placeholder left">
            <a:extLst>
              <a:ext uri="{FF2B5EF4-FFF2-40B4-BE49-F238E27FC236}">
                <a16:creationId xmlns:a16="http://schemas.microsoft.com/office/drawing/2014/main" id="{0CAC78B5-1779-4709-AF35-4B8166EA2A81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6400" y="1369799"/>
            <a:ext cx="5241288" cy="4680163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right">
            <a:extLst>
              <a:ext uri="{FF2B5EF4-FFF2-40B4-BE49-F238E27FC236}">
                <a16:creationId xmlns:a16="http://schemas.microsoft.com/office/drawing/2014/main" id="{E89E6773-5B9E-4C7D-B1BE-54C5F7F48326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6002399" y="1369799"/>
            <a:ext cx="5241863" cy="4680163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FAB5EB7-FEDE-4F62-8CA4-FA996173ABEA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F71A1833-FAE1-44C3-9B0A-EE1B16BE8780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October 24, 2023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69CD819-C2C1-4105-A401-FB1FCBF4F692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416AC08-326C-4149-9875-2CE49F374AC7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94313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pos="7083">
          <p15:clr>
            <a:srgbClr val="547EBF"/>
          </p15:clr>
        </p15:guide>
        <p15:guide id="4" orient="horz" pos="509">
          <p15:clr>
            <a:srgbClr val="547EBF"/>
          </p15:clr>
        </p15:guide>
        <p15:guide id="5" orient="horz" pos="745">
          <p15:clr>
            <a:srgbClr val="547EBF"/>
          </p15:clr>
        </p15:guide>
        <p15:guide id="6" orient="horz" pos="863">
          <p15:clr>
            <a:srgbClr val="547EBF"/>
          </p15:clr>
        </p15:guide>
        <p15:guide id="7" orient="horz" pos="3811">
          <p15:clr>
            <a:srgbClr val="547EBF"/>
          </p15:clr>
        </p15:guide>
        <p15:guide id="8" orient="horz" pos="3958">
          <p15:clr>
            <a:srgbClr val="547EBF"/>
          </p15:clr>
        </p15:guide>
        <p15:guide id="9" pos="3545">
          <p15:clr>
            <a:srgbClr val="547EBF"/>
          </p15:clr>
        </p15:guide>
        <p15:guide id="10" pos="3781">
          <p15:clr>
            <a:srgbClr val="547EBF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3 Contents" type="objAndTwoObj" preserve="1">
  <p:cSld name="Title 3 Conten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1" name="Content Placeholder left">
            <a:extLst>
              <a:ext uri="{FF2B5EF4-FFF2-40B4-BE49-F238E27FC236}">
                <a16:creationId xmlns:a16="http://schemas.microsoft.com/office/drawing/2014/main" id="{F5838B5B-8D44-4948-9685-83EA5B4F67BE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6399" y="1369799"/>
            <a:ext cx="3369625" cy="4680163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center">
            <a:extLst>
              <a:ext uri="{FF2B5EF4-FFF2-40B4-BE49-F238E27FC236}">
                <a16:creationId xmlns:a16="http://schemas.microsoft.com/office/drawing/2014/main" id="{32BB11D2-EA02-41A0-9EE7-358732E361F5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4130400" y="1369799"/>
            <a:ext cx="3368950" cy="4680163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right">
            <a:extLst>
              <a:ext uri="{FF2B5EF4-FFF2-40B4-BE49-F238E27FC236}">
                <a16:creationId xmlns:a16="http://schemas.microsoft.com/office/drawing/2014/main" id="{CF21524C-67FC-4C50-BAB0-4B436AB19D34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7874399" y="1369799"/>
            <a:ext cx="3369863" cy="4680163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DF283F9-9BAE-49C1-8215-98BC764F262D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DF8F69ED-2428-4A80-94E8-54798B345288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October 24, 2023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085F4D-A4CF-4983-9CA8-23B010115B4D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982CEB6-3AF0-4ED5-B22D-724138DD0855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74173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pos="7083">
          <p15:clr>
            <a:srgbClr val="547EBF"/>
          </p15:clr>
        </p15:guide>
        <p15:guide id="3" orient="horz" pos="273">
          <p15:clr>
            <a:srgbClr val="547EBF"/>
          </p15:clr>
        </p15:guide>
        <p15:guide id="4" orient="horz" pos="509">
          <p15:clr>
            <a:srgbClr val="547EBF"/>
          </p15:clr>
        </p15:guide>
        <p15:guide id="5" orient="horz" pos="745">
          <p15:clr>
            <a:srgbClr val="547EBF"/>
          </p15:clr>
        </p15:guide>
        <p15:guide id="6" orient="horz" pos="863">
          <p15:clr>
            <a:srgbClr val="547EBF"/>
          </p15:clr>
        </p15:guide>
        <p15:guide id="7" orient="horz" pos="3811">
          <p15:clr>
            <a:srgbClr val="547EBF"/>
          </p15:clr>
        </p15:guide>
        <p15:guide id="8" orient="horz" pos="3958">
          <p15:clr>
            <a:srgbClr val="547EBF"/>
          </p15:clr>
        </p15:guide>
        <p15:guide id="9" pos="2366">
          <p15:clr>
            <a:srgbClr val="547EBF"/>
          </p15:clr>
        </p15:guide>
        <p15:guide id="10" pos="2602">
          <p15:clr>
            <a:srgbClr val="547EBF"/>
          </p15:clr>
        </p15:guide>
        <p15:guide id="11" pos="4724">
          <p15:clr>
            <a:srgbClr val="547EBF"/>
          </p15:clr>
        </p15:guide>
        <p15:guide id="12" pos="4960">
          <p15:clr>
            <a:srgbClr val="547EBF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5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Relationship Id="rId35" Type="http://schemas.openxmlformats.org/officeDocument/2006/relationships/tags" Target="../tags/tag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4" name="Logo">
            <a:extLst>
              <a:ext uri="{FF2B5EF4-FFF2-40B4-BE49-F238E27FC236}">
                <a16:creationId xmlns:a16="http://schemas.microsoft.com/office/drawing/2014/main" id="{3C2628D1-2C4E-466C-8ED2-0BBF936C9D6A}"/>
              </a:ext>
            </a:extLst>
          </p:cNvPr>
          <p:cNvSpPr>
            <a:spLocks/>
          </p:cNvSpPr>
          <p:nvPr/>
        </p:nvSpPr>
        <p:spPr bwMode="black">
          <a:xfrm>
            <a:off x="385763" y="6512963"/>
            <a:ext cx="538161" cy="150809"/>
          </a:xfrm>
          <a:custGeom>
            <a:avLst/>
            <a:gdLst>
              <a:gd name="connsiteX0" fmla="*/ 135721 w 1078169"/>
              <a:gd name="connsiteY0" fmla="*/ 71284 h 302134"/>
              <a:gd name="connsiteX1" fmla="*/ 109085 w 1078169"/>
              <a:gd name="connsiteY1" fmla="*/ 189249 h 302134"/>
              <a:gd name="connsiteX2" fmla="*/ 161091 w 1078169"/>
              <a:gd name="connsiteY2" fmla="*/ 189249 h 302134"/>
              <a:gd name="connsiteX3" fmla="*/ 394483 w 1078169"/>
              <a:gd name="connsiteY3" fmla="*/ 66210 h 302134"/>
              <a:gd name="connsiteX4" fmla="*/ 374189 w 1078169"/>
              <a:gd name="connsiteY4" fmla="*/ 89042 h 302134"/>
              <a:gd name="connsiteX5" fmla="*/ 418583 w 1078169"/>
              <a:gd name="connsiteY5" fmla="*/ 123290 h 302134"/>
              <a:gd name="connsiteX6" fmla="*/ 499763 w 1078169"/>
              <a:gd name="connsiteY6" fmla="*/ 210811 h 302134"/>
              <a:gd name="connsiteX7" fmla="*/ 422389 w 1078169"/>
              <a:gd name="connsiteY7" fmla="*/ 295797 h 302134"/>
              <a:gd name="connsiteX8" fmla="*/ 287933 w 1078169"/>
              <a:gd name="connsiteY8" fmla="*/ 281844 h 302134"/>
              <a:gd name="connsiteX9" fmla="*/ 287933 w 1078169"/>
              <a:gd name="connsiteY9" fmla="*/ 213348 h 302134"/>
              <a:gd name="connsiteX10" fmla="*/ 367845 w 1078169"/>
              <a:gd name="connsiteY10" fmla="*/ 242522 h 302134"/>
              <a:gd name="connsiteX11" fmla="*/ 412241 w 1078169"/>
              <a:gd name="connsiteY11" fmla="*/ 209543 h 302134"/>
              <a:gd name="connsiteX12" fmla="*/ 381797 w 1078169"/>
              <a:gd name="connsiteY12" fmla="*/ 176564 h 302134"/>
              <a:gd name="connsiteX13" fmla="*/ 394483 w 1078169"/>
              <a:gd name="connsiteY13" fmla="*/ 66210 h 302134"/>
              <a:gd name="connsiteX14" fmla="*/ 894245 w 1078169"/>
              <a:gd name="connsiteY14" fmla="*/ 9131 h 302134"/>
              <a:gd name="connsiteX15" fmla="*/ 972889 w 1078169"/>
              <a:gd name="connsiteY15" fmla="*/ 9131 h 302134"/>
              <a:gd name="connsiteX16" fmla="*/ 972889 w 1078169"/>
              <a:gd name="connsiteY16" fmla="*/ 236181 h 302134"/>
              <a:gd name="connsiteX17" fmla="*/ 1078169 w 1078169"/>
              <a:gd name="connsiteY17" fmla="*/ 236181 h 302134"/>
              <a:gd name="connsiteX18" fmla="*/ 1078169 w 1078169"/>
              <a:gd name="connsiteY18" fmla="*/ 295797 h 302134"/>
              <a:gd name="connsiteX19" fmla="*/ 894245 w 1078169"/>
              <a:gd name="connsiteY19" fmla="*/ 295797 h 302134"/>
              <a:gd name="connsiteX20" fmla="*/ 564453 w 1078169"/>
              <a:gd name="connsiteY20" fmla="*/ 9131 h 302134"/>
              <a:gd name="connsiteX21" fmla="*/ 650707 w 1078169"/>
              <a:gd name="connsiteY21" fmla="*/ 9131 h 302134"/>
              <a:gd name="connsiteX22" fmla="*/ 690029 w 1078169"/>
              <a:gd name="connsiteY22" fmla="*/ 181638 h 302134"/>
              <a:gd name="connsiteX23" fmla="*/ 730617 w 1078169"/>
              <a:gd name="connsiteY23" fmla="*/ 9131 h 302134"/>
              <a:gd name="connsiteX24" fmla="*/ 816873 w 1078169"/>
              <a:gd name="connsiteY24" fmla="*/ 9131 h 302134"/>
              <a:gd name="connsiteX25" fmla="*/ 854925 w 1078169"/>
              <a:gd name="connsiteY25" fmla="*/ 295797 h 302134"/>
              <a:gd name="connsiteX26" fmla="*/ 773745 w 1078169"/>
              <a:gd name="connsiteY26" fmla="*/ 295797 h 302134"/>
              <a:gd name="connsiteX27" fmla="*/ 759793 w 1078169"/>
              <a:gd name="connsiteY27" fmla="*/ 114411 h 302134"/>
              <a:gd name="connsiteX28" fmla="*/ 721739 w 1078169"/>
              <a:gd name="connsiteY28" fmla="*/ 295797 h 302134"/>
              <a:gd name="connsiteX29" fmla="*/ 658317 w 1078169"/>
              <a:gd name="connsiteY29" fmla="*/ 295797 h 302134"/>
              <a:gd name="connsiteX30" fmla="*/ 621533 w 1078169"/>
              <a:gd name="connsiteY30" fmla="*/ 114411 h 302134"/>
              <a:gd name="connsiteX31" fmla="*/ 607581 w 1078169"/>
              <a:gd name="connsiteY31" fmla="*/ 295797 h 302134"/>
              <a:gd name="connsiteX32" fmla="*/ 526401 w 1078169"/>
              <a:gd name="connsiteY32" fmla="*/ 295797 h 302134"/>
              <a:gd name="connsiteX33" fmla="*/ 86253 w 1078169"/>
              <a:gd name="connsiteY33" fmla="*/ 9131 h 302134"/>
              <a:gd name="connsiteX34" fmla="*/ 183923 w 1078169"/>
              <a:gd name="connsiteY34" fmla="*/ 9131 h 302134"/>
              <a:gd name="connsiteX35" fmla="*/ 270177 w 1078169"/>
              <a:gd name="connsiteY35" fmla="*/ 295797 h 302134"/>
              <a:gd name="connsiteX36" fmla="*/ 183923 w 1078169"/>
              <a:gd name="connsiteY36" fmla="*/ 295797 h 302134"/>
              <a:gd name="connsiteX37" fmla="*/ 172507 w 1078169"/>
              <a:gd name="connsiteY37" fmla="*/ 243791 h 302134"/>
              <a:gd name="connsiteX38" fmla="*/ 97669 w 1078169"/>
              <a:gd name="connsiteY38" fmla="*/ 243791 h 302134"/>
              <a:gd name="connsiteX39" fmla="*/ 86253 w 1078169"/>
              <a:gd name="connsiteY39" fmla="*/ 295797 h 302134"/>
              <a:gd name="connsiteX40" fmla="*/ 0 w 1078169"/>
              <a:gd name="connsiteY40" fmla="*/ 295797 h 302134"/>
              <a:gd name="connsiteX41" fmla="*/ 416643 w 1078169"/>
              <a:gd name="connsiteY41" fmla="*/ 173 h 302134"/>
              <a:gd name="connsiteX42" fmla="*/ 478201 w 1078169"/>
              <a:gd name="connsiteY42" fmla="*/ 14205 h 302134"/>
              <a:gd name="connsiteX43" fmla="*/ 478201 w 1078169"/>
              <a:gd name="connsiteY43" fmla="*/ 89043 h 302134"/>
              <a:gd name="connsiteX44" fmla="*/ 294277 w 1078169"/>
              <a:gd name="connsiteY44" fmla="*/ 109337 h 302134"/>
              <a:gd name="connsiteX45" fmla="*/ 416643 w 1078169"/>
              <a:gd name="connsiteY45" fmla="*/ 173 h 302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1078169" h="302134">
                <a:moveTo>
                  <a:pt x="135721" y="71284"/>
                </a:moveTo>
                <a:lnTo>
                  <a:pt x="109085" y="189249"/>
                </a:lnTo>
                <a:lnTo>
                  <a:pt x="161091" y="189249"/>
                </a:lnTo>
                <a:close/>
                <a:moveTo>
                  <a:pt x="394483" y="66210"/>
                </a:moveTo>
                <a:cubicBezTo>
                  <a:pt x="377993" y="71284"/>
                  <a:pt x="374189" y="80163"/>
                  <a:pt x="374189" y="89042"/>
                </a:cubicBezTo>
                <a:cubicBezTo>
                  <a:pt x="374189" y="109337"/>
                  <a:pt x="400825" y="115679"/>
                  <a:pt x="418583" y="123290"/>
                </a:cubicBezTo>
                <a:cubicBezTo>
                  <a:pt x="447757" y="134705"/>
                  <a:pt x="501033" y="148658"/>
                  <a:pt x="499763" y="210811"/>
                </a:cubicBezTo>
                <a:cubicBezTo>
                  <a:pt x="499763" y="247596"/>
                  <a:pt x="464247" y="283112"/>
                  <a:pt x="422389" y="295797"/>
                </a:cubicBezTo>
                <a:cubicBezTo>
                  <a:pt x="371653" y="311018"/>
                  <a:pt x="319645" y="295797"/>
                  <a:pt x="287933" y="281844"/>
                </a:cubicBezTo>
                <a:lnTo>
                  <a:pt x="287933" y="213348"/>
                </a:lnTo>
                <a:cubicBezTo>
                  <a:pt x="314573" y="231106"/>
                  <a:pt x="338671" y="242522"/>
                  <a:pt x="367845" y="242522"/>
                </a:cubicBezTo>
                <a:cubicBezTo>
                  <a:pt x="385605" y="242522"/>
                  <a:pt x="412241" y="233643"/>
                  <a:pt x="412241" y="209543"/>
                </a:cubicBezTo>
                <a:cubicBezTo>
                  <a:pt x="412241" y="189248"/>
                  <a:pt x="393215" y="182906"/>
                  <a:pt x="381797" y="176564"/>
                </a:cubicBezTo>
                <a:cubicBezTo>
                  <a:pt x="318377" y="142316"/>
                  <a:pt x="337403" y="72552"/>
                  <a:pt x="394483" y="66210"/>
                </a:cubicBezTo>
                <a:close/>
                <a:moveTo>
                  <a:pt x="894245" y="9131"/>
                </a:moveTo>
                <a:lnTo>
                  <a:pt x="972889" y="9131"/>
                </a:lnTo>
                <a:lnTo>
                  <a:pt x="972889" y="236181"/>
                </a:lnTo>
                <a:lnTo>
                  <a:pt x="1078169" y="236181"/>
                </a:lnTo>
                <a:lnTo>
                  <a:pt x="1078169" y="295797"/>
                </a:lnTo>
                <a:lnTo>
                  <a:pt x="894245" y="295797"/>
                </a:lnTo>
                <a:close/>
                <a:moveTo>
                  <a:pt x="564453" y="9131"/>
                </a:moveTo>
                <a:lnTo>
                  <a:pt x="650707" y="9131"/>
                </a:lnTo>
                <a:lnTo>
                  <a:pt x="690029" y="181638"/>
                </a:lnTo>
                <a:lnTo>
                  <a:pt x="730617" y="9131"/>
                </a:lnTo>
                <a:lnTo>
                  <a:pt x="816873" y="9131"/>
                </a:lnTo>
                <a:lnTo>
                  <a:pt x="854925" y="295797"/>
                </a:lnTo>
                <a:lnTo>
                  <a:pt x="773745" y="295797"/>
                </a:lnTo>
                <a:lnTo>
                  <a:pt x="759793" y="114411"/>
                </a:lnTo>
                <a:lnTo>
                  <a:pt x="721739" y="295797"/>
                </a:lnTo>
                <a:lnTo>
                  <a:pt x="658317" y="295797"/>
                </a:lnTo>
                <a:lnTo>
                  <a:pt x="621533" y="114411"/>
                </a:lnTo>
                <a:lnTo>
                  <a:pt x="607581" y="295797"/>
                </a:lnTo>
                <a:lnTo>
                  <a:pt x="526401" y="295797"/>
                </a:lnTo>
                <a:close/>
                <a:moveTo>
                  <a:pt x="86253" y="9131"/>
                </a:moveTo>
                <a:lnTo>
                  <a:pt x="183923" y="9131"/>
                </a:lnTo>
                <a:lnTo>
                  <a:pt x="270177" y="295797"/>
                </a:lnTo>
                <a:lnTo>
                  <a:pt x="183923" y="295797"/>
                </a:lnTo>
                <a:lnTo>
                  <a:pt x="172507" y="243791"/>
                </a:lnTo>
                <a:lnTo>
                  <a:pt x="97669" y="243791"/>
                </a:lnTo>
                <a:lnTo>
                  <a:pt x="86253" y="295797"/>
                </a:lnTo>
                <a:lnTo>
                  <a:pt x="0" y="295797"/>
                </a:lnTo>
                <a:close/>
                <a:moveTo>
                  <a:pt x="416643" y="173"/>
                </a:moveTo>
                <a:cubicBezTo>
                  <a:pt x="438563" y="1124"/>
                  <a:pt x="460127" y="5960"/>
                  <a:pt x="478201" y="14205"/>
                </a:cubicBezTo>
                <a:cubicBezTo>
                  <a:pt x="479469" y="31963"/>
                  <a:pt x="480737" y="49721"/>
                  <a:pt x="478201" y="89043"/>
                </a:cubicBezTo>
                <a:cubicBezTo>
                  <a:pt x="407169" y="26889"/>
                  <a:pt x="295545" y="52258"/>
                  <a:pt x="294277" y="109337"/>
                </a:cubicBezTo>
                <a:cubicBezTo>
                  <a:pt x="281911" y="29426"/>
                  <a:pt x="350883" y="-2681"/>
                  <a:pt x="416643" y="173"/>
                </a:cubicBezTo>
                <a:close/>
              </a:path>
            </a:pathLst>
          </a:custGeom>
          <a:solidFill>
            <a:srgbClr val="10069F"/>
          </a:solidFill>
          <a:ln w="1268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endParaRPr lang="en-US" sz="2400" baseline="0" dirty="0">
              <a:latin typeface="+mn-lt"/>
              <a:cs typeface="+mn-cs"/>
            </a:endParaRPr>
          </a:p>
        </p:txBody>
      </p:sp>
      <p:grpSp>
        <p:nvGrpSpPr>
          <p:cNvPr id="5" name="Supporting lines">
            <a:extLst>
              <a:ext uri="{FF2B5EF4-FFF2-40B4-BE49-F238E27FC236}">
                <a16:creationId xmlns:a16="http://schemas.microsoft.com/office/drawing/2014/main" id="{9FB53A73-69D2-4671-A9D6-A17A4290BC4E}"/>
              </a:ext>
            </a:extLst>
          </p:cNvPr>
          <p:cNvGrpSpPr/>
          <p:nvPr/>
        </p:nvGrpSpPr>
        <p:grpSpPr>
          <a:xfrm>
            <a:off x="-128400" y="-127800"/>
            <a:ext cx="12121200" cy="6832800"/>
            <a:chOff x="-128400" y="-127800"/>
            <a:chExt cx="12121200" cy="6832800"/>
          </a:xfrm>
        </p:grpSpPr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02E4C7E6-3387-41F8-9EAD-E47B5A9ECA17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20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D90A978A-7BAF-49DB-BABC-A990A0088049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3864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286BBF64-B330-4470-9A1F-E5A4734EF75B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7608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537A0477-93D8-48A8-A035-9D98267DCD7B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1352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031A1A94-C93E-49F0-B200-89371B610371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5096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26AAF536-9BA6-4AFE-9100-FE58B83D2361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8840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4151686A-15C4-4FFA-961B-4F76D94DB438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22584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62E777-8C52-479C-AC60-2C9D5D43FE19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26328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53D75036-1DD3-4854-B5B9-6595551F2416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30072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C7957112-40AF-4ACF-B51F-4C590B373870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33816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D4AEF7E8-D2DC-4C57-88BD-3553A56B07D6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37560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2534FF11-DBBB-413C-8314-F1C8439500EA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41304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51914CF2-B9C8-42DF-AF06-9236BFFE9C7B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45048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46975562-75F0-4BD4-A751-F473B6A1432C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48792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617830BB-D9CA-42CE-99C6-66622F1AA11E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52536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0" name="Straight Connector 159">
              <a:extLst>
                <a:ext uri="{FF2B5EF4-FFF2-40B4-BE49-F238E27FC236}">
                  <a16:creationId xmlns:a16="http://schemas.microsoft.com/office/drawing/2014/main" id="{779AC6A6-E6E5-4285-A4EA-35CABC766740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56280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1" name="Straight Connector 160">
              <a:extLst>
                <a:ext uri="{FF2B5EF4-FFF2-40B4-BE49-F238E27FC236}">
                  <a16:creationId xmlns:a16="http://schemas.microsoft.com/office/drawing/2014/main" id="{DCB627BA-14B2-4460-BD26-FBBD93F039A1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60024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2" name="Straight Connector 161">
              <a:extLst>
                <a:ext uri="{FF2B5EF4-FFF2-40B4-BE49-F238E27FC236}">
                  <a16:creationId xmlns:a16="http://schemas.microsoft.com/office/drawing/2014/main" id="{2B23F7E5-6F7C-4F74-863A-A62D2D396A28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63768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3" name="Straight Connector 162">
              <a:extLst>
                <a:ext uri="{FF2B5EF4-FFF2-40B4-BE49-F238E27FC236}">
                  <a16:creationId xmlns:a16="http://schemas.microsoft.com/office/drawing/2014/main" id="{0A36211D-106F-4F9D-9F9F-CA0674A5A8C0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67512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4" name="Straight Connector 163">
              <a:extLst>
                <a:ext uri="{FF2B5EF4-FFF2-40B4-BE49-F238E27FC236}">
                  <a16:creationId xmlns:a16="http://schemas.microsoft.com/office/drawing/2014/main" id="{C2CABEE8-FAF4-4440-AF4B-22004B9C277A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71256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5" name="Straight Connector 164">
              <a:extLst>
                <a:ext uri="{FF2B5EF4-FFF2-40B4-BE49-F238E27FC236}">
                  <a16:creationId xmlns:a16="http://schemas.microsoft.com/office/drawing/2014/main" id="{BF0A0087-F3D5-4F3B-A1DF-5B2789DD55A7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75000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6" name="Straight Connector 165">
              <a:extLst>
                <a:ext uri="{FF2B5EF4-FFF2-40B4-BE49-F238E27FC236}">
                  <a16:creationId xmlns:a16="http://schemas.microsoft.com/office/drawing/2014/main" id="{8677234F-1CE8-4B48-955E-1245838A1E0A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78744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7" name="Straight Connector 166">
              <a:extLst>
                <a:ext uri="{FF2B5EF4-FFF2-40B4-BE49-F238E27FC236}">
                  <a16:creationId xmlns:a16="http://schemas.microsoft.com/office/drawing/2014/main" id="{671F9C2D-8377-4DE3-BFFF-118ACDB8F390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82488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8" name="Straight Connector 167">
              <a:extLst>
                <a:ext uri="{FF2B5EF4-FFF2-40B4-BE49-F238E27FC236}">
                  <a16:creationId xmlns:a16="http://schemas.microsoft.com/office/drawing/2014/main" id="{B0AA66E6-ABA6-4C8F-84CE-FEED5DC95B27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86232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9" name="Straight Connector 168">
              <a:extLst>
                <a:ext uri="{FF2B5EF4-FFF2-40B4-BE49-F238E27FC236}">
                  <a16:creationId xmlns:a16="http://schemas.microsoft.com/office/drawing/2014/main" id="{7C38C08E-3768-4D40-B253-1BE54C53BB80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89976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0" name="Straight Connector 169">
              <a:extLst>
                <a:ext uri="{FF2B5EF4-FFF2-40B4-BE49-F238E27FC236}">
                  <a16:creationId xmlns:a16="http://schemas.microsoft.com/office/drawing/2014/main" id="{B46208E7-BDF9-42EE-8F8E-364F4231B305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93720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1" name="Straight Connector 170">
              <a:extLst>
                <a:ext uri="{FF2B5EF4-FFF2-40B4-BE49-F238E27FC236}">
                  <a16:creationId xmlns:a16="http://schemas.microsoft.com/office/drawing/2014/main" id="{24644024-66E6-49F2-B6F2-53D748DA91D4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97464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2" name="Straight Connector 171">
              <a:extLst>
                <a:ext uri="{FF2B5EF4-FFF2-40B4-BE49-F238E27FC236}">
                  <a16:creationId xmlns:a16="http://schemas.microsoft.com/office/drawing/2014/main" id="{2B410132-405B-4ABA-A92D-420B11E0E179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01208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3" name="Straight Connector 172">
              <a:extLst>
                <a:ext uri="{FF2B5EF4-FFF2-40B4-BE49-F238E27FC236}">
                  <a16:creationId xmlns:a16="http://schemas.microsoft.com/office/drawing/2014/main" id="{F50FE52E-B465-485B-A2FD-F5D406407B6D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04952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4" name="Straight Connector 173">
              <a:extLst>
                <a:ext uri="{FF2B5EF4-FFF2-40B4-BE49-F238E27FC236}">
                  <a16:creationId xmlns:a16="http://schemas.microsoft.com/office/drawing/2014/main" id="{8D24ADCC-0F7F-4654-87EF-EC655FCE31DD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08696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5" name="Straight Connector 174">
              <a:extLst>
                <a:ext uri="{FF2B5EF4-FFF2-40B4-BE49-F238E27FC236}">
                  <a16:creationId xmlns:a16="http://schemas.microsoft.com/office/drawing/2014/main" id="{1CF4FD21-530C-4ACC-9F46-27D654CF920F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12440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6" name="Straight Connector 175">
              <a:extLst>
                <a:ext uri="{FF2B5EF4-FFF2-40B4-BE49-F238E27FC236}">
                  <a16:creationId xmlns:a16="http://schemas.microsoft.com/office/drawing/2014/main" id="{AD797CB6-894E-4FCA-881E-5BC1BF9B953C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16184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7" name="Straight Connector 176">
              <a:extLst>
                <a:ext uri="{FF2B5EF4-FFF2-40B4-BE49-F238E27FC236}">
                  <a16:creationId xmlns:a16="http://schemas.microsoft.com/office/drawing/2014/main" id="{E89FFA9F-0A14-4344-BF56-120CBB213BC7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19928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Straight Connector 177">
              <a:extLst>
                <a:ext uri="{FF2B5EF4-FFF2-40B4-BE49-F238E27FC236}">
                  <a16:creationId xmlns:a16="http://schemas.microsoft.com/office/drawing/2014/main" id="{DA3A1F9D-5070-4758-AEA3-63BFA2645D9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28400" y="433800"/>
              <a:ext cx="468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9" name="Straight Connector 178">
              <a:extLst>
                <a:ext uri="{FF2B5EF4-FFF2-40B4-BE49-F238E27FC236}">
                  <a16:creationId xmlns:a16="http://schemas.microsoft.com/office/drawing/2014/main" id="{FC12C6A6-7BD2-467A-8763-05F4FA05509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28400" y="808200"/>
              <a:ext cx="468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0" name="Straight Connector 179">
              <a:extLst>
                <a:ext uri="{FF2B5EF4-FFF2-40B4-BE49-F238E27FC236}">
                  <a16:creationId xmlns:a16="http://schemas.microsoft.com/office/drawing/2014/main" id="{C8D367F6-6242-48A1-81AC-25136EA76ED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28400" y="1182600"/>
              <a:ext cx="468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1" name="Straight Connector 180">
              <a:extLst>
                <a:ext uri="{FF2B5EF4-FFF2-40B4-BE49-F238E27FC236}">
                  <a16:creationId xmlns:a16="http://schemas.microsoft.com/office/drawing/2014/main" id="{B203129A-3612-420D-BC50-908283471DD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28400" y="1369800"/>
              <a:ext cx="468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2" name="Straight Connector 181">
              <a:extLst>
                <a:ext uri="{FF2B5EF4-FFF2-40B4-BE49-F238E27FC236}">
                  <a16:creationId xmlns:a16="http://schemas.microsoft.com/office/drawing/2014/main" id="{47B300CA-A1A7-4367-9576-17557304AF2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28400" y="6049800"/>
              <a:ext cx="468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3" name="Straight Connector 182">
              <a:extLst>
                <a:ext uri="{FF2B5EF4-FFF2-40B4-BE49-F238E27FC236}">
                  <a16:creationId xmlns:a16="http://schemas.microsoft.com/office/drawing/2014/main" id="{AF0368B5-E16D-49D8-82F1-7825D0F2F6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28400" y="6283800"/>
              <a:ext cx="468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4" name="Straight Connector 183">
              <a:extLst>
                <a:ext uri="{FF2B5EF4-FFF2-40B4-BE49-F238E27FC236}">
                  <a16:creationId xmlns:a16="http://schemas.microsoft.com/office/drawing/2014/main" id="{5E5AD53C-5B62-499E-8A20-3700DE0EDF5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28400" y="6517800"/>
              <a:ext cx="468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5" name="Straight Connector 184">
              <a:extLst>
                <a:ext uri="{FF2B5EF4-FFF2-40B4-BE49-F238E27FC236}">
                  <a16:creationId xmlns:a16="http://schemas.microsoft.com/office/drawing/2014/main" id="{F1863D99-0BC1-4BDB-8690-56085CBD796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28400" y="6705000"/>
              <a:ext cx="468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98" name="Content Grid" hidden="1">
            <a:extLst>
              <a:ext uri="{FF2B5EF4-FFF2-40B4-BE49-F238E27FC236}">
                <a16:creationId xmlns:a16="http://schemas.microsoft.com/office/drawing/2014/main" id="{016A9DD2-7240-460D-8F15-EB07954CC749}"/>
              </a:ext>
            </a:extLst>
          </p:cNvPr>
          <p:cNvGrpSpPr>
            <a:grpSpLocks/>
          </p:cNvGrpSpPr>
          <p:nvPr>
            <p:custDataLst>
              <p:tags r:id="rId31"/>
            </p:custDataLst>
          </p:nvPr>
        </p:nvGrpSpPr>
        <p:grpSpPr>
          <a:xfrm>
            <a:off x="386400" y="1369800"/>
            <a:ext cx="10872000" cy="4680163"/>
            <a:chOff x="386400" y="1369800"/>
            <a:chExt cx="10872000" cy="4680163"/>
          </a:xfrm>
        </p:grpSpPr>
        <p:cxnSp>
          <p:nvCxnSpPr>
            <p:cNvPr id="90" name="Straight Connector 89" hidden="1">
              <a:extLst>
                <a:ext uri="{FF2B5EF4-FFF2-40B4-BE49-F238E27FC236}">
                  <a16:creationId xmlns:a16="http://schemas.microsoft.com/office/drawing/2014/main" id="{82832892-2597-4AE7-96D4-621BF4776E1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024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4" name="Straight Connector 113" hidden="1">
              <a:extLst>
                <a:ext uri="{FF2B5EF4-FFF2-40B4-BE49-F238E27FC236}">
                  <a16:creationId xmlns:a16="http://schemas.microsoft.com/office/drawing/2014/main" id="{B19210E7-8435-44B0-8CC5-E71D6BDDD76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2773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5" name="Straight Connector 114" hidden="1">
              <a:extLst>
                <a:ext uri="{FF2B5EF4-FFF2-40B4-BE49-F238E27FC236}">
                  <a16:creationId xmlns:a16="http://schemas.microsoft.com/office/drawing/2014/main" id="{39233C6B-DFD3-4832-8671-4D56EE3A8A0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2305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6" name="Straight Connector 115" hidden="1">
              <a:extLst>
                <a:ext uri="{FF2B5EF4-FFF2-40B4-BE49-F238E27FC236}">
                  <a16:creationId xmlns:a16="http://schemas.microsoft.com/office/drawing/2014/main" id="{13C16988-56C0-4781-B480-F5CF0F46E93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1837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7" name="Straight Connector 116" hidden="1">
              <a:extLst>
                <a:ext uri="{FF2B5EF4-FFF2-40B4-BE49-F238E27FC236}">
                  <a16:creationId xmlns:a16="http://schemas.microsoft.com/office/drawing/2014/main" id="{E3D5CB83-557E-41D9-A7E7-CFA309C57AB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1369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1" name="Straight Connector 120" hidden="1">
              <a:extLst>
                <a:ext uri="{FF2B5EF4-FFF2-40B4-BE49-F238E27FC236}">
                  <a16:creationId xmlns:a16="http://schemas.microsoft.com/office/drawing/2014/main" id="{F4B3DCB7-9BA6-446D-B8B7-A43198EFA51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3241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2" name="Straight Connector 121" hidden="1">
              <a:extLst>
                <a:ext uri="{FF2B5EF4-FFF2-40B4-BE49-F238E27FC236}">
                  <a16:creationId xmlns:a16="http://schemas.microsoft.com/office/drawing/2014/main" id="{11E9F8A6-9BF4-4D3E-8089-DD140A8AF6C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3709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3" name="Straight Connector 122" hidden="1">
              <a:extLst>
                <a:ext uri="{FF2B5EF4-FFF2-40B4-BE49-F238E27FC236}">
                  <a16:creationId xmlns:a16="http://schemas.microsoft.com/office/drawing/2014/main" id="{57CB75BD-D2D9-4256-B5E7-32F489A938B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4177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4" name="Straight Connector 123" hidden="1">
              <a:extLst>
                <a:ext uri="{FF2B5EF4-FFF2-40B4-BE49-F238E27FC236}">
                  <a16:creationId xmlns:a16="http://schemas.microsoft.com/office/drawing/2014/main" id="{540868F0-DB12-4E17-B1DB-A3FFD300EDB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4645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5" name="Straight Connector 124" hidden="1">
              <a:extLst>
                <a:ext uri="{FF2B5EF4-FFF2-40B4-BE49-F238E27FC236}">
                  <a16:creationId xmlns:a16="http://schemas.microsoft.com/office/drawing/2014/main" id="{A7DD42A3-FD09-4C13-8866-B56B9607FFE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5113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6" name="Straight Connector 125" hidden="1">
              <a:extLst>
                <a:ext uri="{FF2B5EF4-FFF2-40B4-BE49-F238E27FC236}">
                  <a16:creationId xmlns:a16="http://schemas.microsoft.com/office/drawing/2014/main" id="{6FBC1860-5818-42EB-AE1A-9B6D4BA0325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5581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7" name="Straight Connector 126" hidden="1">
              <a:extLst>
                <a:ext uri="{FF2B5EF4-FFF2-40B4-BE49-F238E27FC236}">
                  <a16:creationId xmlns:a16="http://schemas.microsoft.com/office/drawing/2014/main" id="{982A4B0E-EF82-4FCD-B19A-D6995ACD305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6049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9" name="Straight Connector 128" hidden="1">
              <a:extLst>
                <a:ext uri="{FF2B5EF4-FFF2-40B4-BE49-F238E27FC236}">
                  <a16:creationId xmlns:a16="http://schemas.microsoft.com/office/drawing/2014/main" id="{B29B5915-F6DB-40AA-B721-690E01F8333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3768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0" name="Straight Connector 129" hidden="1">
              <a:extLst>
                <a:ext uri="{FF2B5EF4-FFF2-40B4-BE49-F238E27FC236}">
                  <a16:creationId xmlns:a16="http://schemas.microsoft.com/office/drawing/2014/main" id="{2A880744-6C30-4956-9500-51EBB5086C8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7512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1" name="Straight Connector 130" hidden="1">
              <a:extLst>
                <a:ext uri="{FF2B5EF4-FFF2-40B4-BE49-F238E27FC236}">
                  <a16:creationId xmlns:a16="http://schemas.microsoft.com/office/drawing/2014/main" id="{900AD28B-C92E-4F85-8046-E6126B7173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1256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2" name="Straight Connector 131" hidden="1">
              <a:extLst>
                <a:ext uri="{FF2B5EF4-FFF2-40B4-BE49-F238E27FC236}">
                  <a16:creationId xmlns:a16="http://schemas.microsoft.com/office/drawing/2014/main" id="{34C33EBF-AD8E-45EA-9B82-65E12E1A2AF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5000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3" name="Straight Connector 132" hidden="1">
              <a:extLst>
                <a:ext uri="{FF2B5EF4-FFF2-40B4-BE49-F238E27FC236}">
                  <a16:creationId xmlns:a16="http://schemas.microsoft.com/office/drawing/2014/main" id="{3C413DF0-6EC9-487B-B6EF-2769C7D5F03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874400" y="1370013"/>
              <a:ext cx="0" cy="467995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4" name="Straight Connector 133" hidden="1">
              <a:extLst>
                <a:ext uri="{FF2B5EF4-FFF2-40B4-BE49-F238E27FC236}">
                  <a16:creationId xmlns:a16="http://schemas.microsoft.com/office/drawing/2014/main" id="{A4E2AA63-CE89-4893-A45D-7811709C5D1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2488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5" name="Straight Connector 134" hidden="1">
              <a:extLst>
                <a:ext uri="{FF2B5EF4-FFF2-40B4-BE49-F238E27FC236}">
                  <a16:creationId xmlns:a16="http://schemas.microsoft.com/office/drawing/2014/main" id="{F631F5B1-A6ED-49B4-91D2-E3947FCBF48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6232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6" name="Straight Connector 135" hidden="1">
              <a:extLst>
                <a:ext uri="{FF2B5EF4-FFF2-40B4-BE49-F238E27FC236}">
                  <a16:creationId xmlns:a16="http://schemas.microsoft.com/office/drawing/2014/main" id="{E84F6276-880E-4D15-8DAF-05D51455ADF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9976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7" name="Straight Connector 136" hidden="1">
              <a:extLst>
                <a:ext uri="{FF2B5EF4-FFF2-40B4-BE49-F238E27FC236}">
                  <a16:creationId xmlns:a16="http://schemas.microsoft.com/office/drawing/2014/main" id="{626022CA-9F72-4133-B7B9-3E52699C0E4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3720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8" name="Straight Connector 137" hidden="1">
              <a:extLst>
                <a:ext uri="{FF2B5EF4-FFF2-40B4-BE49-F238E27FC236}">
                  <a16:creationId xmlns:a16="http://schemas.microsoft.com/office/drawing/2014/main" id="{42343559-BFBA-4C3E-9209-D9CAF681526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7464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9" name="Straight Connector 138" hidden="1">
              <a:extLst>
                <a:ext uri="{FF2B5EF4-FFF2-40B4-BE49-F238E27FC236}">
                  <a16:creationId xmlns:a16="http://schemas.microsoft.com/office/drawing/2014/main" id="{D52F67DD-E6B8-4BCD-A1DB-A1D4A8DE8F0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1208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0" name="Straight Connector 139" hidden="1">
              <a:extLst>
                <a:ext uri="{FF2B5EF4-FFF2-40B4-BE49-F238E27FC236}">
                  <a16:creationId xmlns:a16="http://schemas.microsoft.com/office/drawing/2014/main" id="{3172709B-D69F-47C4-AC8D-DEF42B156F1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4952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1" name="Straight Connector 140" hidden="1">
              <a:extLst>
                <a:ext uri="{FF2B5EF4-FFF2-40B4-BE49-F238E27FC236}">
                  <a16:creationId xmlns:a16="http://schemas.microsoft.com/office/drawing/2014/main" id="{D26E2B03-97E1-48ED-B853-A22EDAE34F6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8696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2" name="Straight Connector 141" hidden="1">
              <a:extLst>
                <a:ext uri="{FF2B5EF4-FFF2-40B4-BE49-F238E27FC236}">
                  <a16:creationId xmlns:a16="http://schemas.microsoft.com/office/drawing/2014/main" id="{81F0634A-F5A3-423C-AF13-71056C6024E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2440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5" name="Straight Connector 144" hidden="1">
              <a:extLst>
                <a:ext uri="{FF2B5EF4-FFF2-40B4-BE49-F238E27FC236}">
                  <a16:creationId xmlns:a16="http://schemas.microsoft.com/office/drawing/2014/main" id="{1811074E-FE7B-487A-9DC9-998D7A519FC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6280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6" name="Straight Connector 145" hidden="1">
              <a:extLst>
                <a:ext uri="{FF2B5EF4-FFF2-40B4-BE49-F238E27FC236}">
                  <a16:creationId xmlns:a16="http://schemas.microsoft.com/office/drawing/2014/main" id="{4B4651AB-0BCF-47DC-ACA4-AFF3274E361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2536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7" name="Straight Connector 146" hidden="1">
              <a:extLst>
                <a:ext uri="{FF2B5EF4-FFF2-40B4-BE49-F238E27FC236}">
                  <a16:creationId xmlns:a16="http://schemas.microsoft.com/office/drawing/2014/main" id="{BBAF41AC-94C0-4628-831A-7CC54CABA34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8792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8" name="Straight Connector 147" hidden="1">
              <a:extLst>
                <a:ext uri="{FF2B5EF4-FFF2-40B4-BE49-F238E27FC236}">
                  <a16:creationId xmlns:a16="http://schemas.microsoft.com/office/drawing/2014/main" id="{FD5FFD6B-DCBB-4D3F-8A11-8EF149657B7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5048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9" name="Straight Connector 148" hidden="1">
              <a:extLst>
                <a:ext uri="{FF2B5EF4-FFF2-40B4-BE49-F238E27FC236}">
                  <a16:creationId xmlns:a16="http://schemas.microsoft.com/office/drawing/2014/main" id="{DDCD2B4B-B680-4E86-BF3C-ED9D58EF6D1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1304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0" name="Straight Connector 149" hidden="1">
              <a:extLst>
                <a:ext uri="{FF2B5EF4-FFF2-40B4-BE49-F238E27FC236}">
                  <a16:creationId xmlns:a16="http://schemas.microsoft.com/office/drawing/2014/main" id="{330D0CD6-750F-4A2A-84CA-61391B3AD59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7560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1" name="Straight Connector 150" hidden="1">
              <a:extLst>
                <a:ext uri="{FF2B5EF4-FFF2-40B4-BE49-F238E27FC236}">
                  <a16:creationId xmlns:a16="http://schemas.microsoft.com/office/drawing/2014/main" id="{7FB36FAA-D5F8-4B20-AB85-A027356E9DC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3816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2" name="Straight Connector 151" hidden="1">
              <a:extLst>
                <a:ext uri="{FF2B5EF4-FFF2-40B4-BE49-F238E27FC236}">
                  <a16:creationId xmlns:a16="http://schemas.microsoft.com/office/drawing/2014/main" id="{5E7272A0-3079-4441-B0E3-1B296C406CD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0072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3" name="Straight Connector 152" hidden="1">
              <a:extLst>
                <a:ext uri="{FF2B5EF4-FFF2-40B4-BE49-F238E27FC236}">
                  <a16:creationId xmlns:a16="http://schemas.microsoft.com/office/drawing/2014/main" id="{4D6D0597-C4A4-4018-BCE6-4E5755711CB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6328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4" name="Straight Connector 153" hidden="1">
              <a:extLst>
                <a:ext uri="{FF2B5EF4-FFF2-40B4-BE49-F238E27FC236}">
                  <a16:creationId xmlns:a16="http://schemas.microsoft.com/office/drawing/2014/main" id="{DFC43681-DD86-42EE-AEBF-C399327C0EC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2584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5" name="Straight Connector 154" hidden="1">
              <a:extLst>
                <a:ext uri="{FF2B5EF4-FFF2-40B4-BE49-F238E27FC236}">
                  <a16:creationId xmlns:a16="http://schemas.microsoft.com/office/drawing/2014/main" id="{75986A3B-7D6F-4591-BFB5-C2B58A01300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8840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6" name="Straight Connector 155" hidden="1">
              <a:extLst>
                <a:ext uri="{FF2B5EF4-FFF2-40B4-BE49-F238E27FC236}">
                  <a16:creationId xmlns:a16="http://schemas.microsoft.com/office/drawing/2014/main" id="{77AF5D60-6A2E-4B7A-B95B-196ED827D67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5096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7" name="Straight Connector 156" hidden="1">
              <a:extLst>
                <a:ext uri="{FF2B5EF4-FFF2-40B4-BE49-F238E27FC236}">
                  <a16:creationId xmlns:a16="http://schemas.microsoft.com/office/drawing/2014/main" id="{FB14D75C-3FC5-49E5-93C7-1E5C8D7EC31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352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8" name="Straight Connector 157" hidden="1">
              <a:extLst>
                <a:ext uri="{FF2B5EF4-FFF2-40B4-BE49-F238E27FC236}">
                  <a16:creationId xmlns:a16="http://schemas.microsoft.com/office/drawing/2014/main" id="{FA9A6FE9-C426-43BE-B7B1-1A8389C7D74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608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9" name="Straight Connector 158" hidden="1">
              <a:extLst>
                <a:ext uri="{FF2B5EF4-FFF2-40B4-BE49-F238E27FC236}">
                  <a16:creationId xmlns:a16="http://schemas.microsoft.com/office/drawing/2014/main" id="{CA6FCDE4-C28E-402D-A221-89799E3B2B9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300" name="Full Grid" hidden="1">
            <a:extLst>
              <a:ext uri="{FF2B5EF4-FFF2-40B4-BE49-F238E27FC236}">
                <a16:creationId xmlns:a16="http://schemas.microsoft.com/office/drawing/2014/main" id="{EAA655A0-4017-4B47-BA09-845E572DCC48}"/>
              </a:ext>
            </a:extLst>
          </p:cNvPr>
          <p:cNvGrpSpPr/>
          <p:nvPr>
            <p:custDataLst>
              <p:tags r:id="rId32"/>
            </p:custDataLst>
          </p:nvPr>
        </p:nvGrpSpPr>
        <p:grpSpPr>
          <a:xfrm>
            <a:off x="0" y="-70200"/>
            <a:ext cx="12367200" cy="7056000"/>
            <a:chOff x="0" y="-70200"/>
            <a:chExt cx="12367200" cy="7056000"/>
          </a:xfrm>
        </p:grpSpPr>
        <p:cxnSp>
          <p:nvCxnSpPr>
            <p:cNvPr id="301" name="Straight Connector 300" hidden="1">
              <a:extLst>
                <a:ext uri="{FF2B5EF4-FFF2-40B4-BE49-F238E27FC236}">
                  <a16:creationId xmlns:a16="http://schemas.microsoft.com/office/drawing/2014/main" id="{48218EBF-9171-4D8F-A33A-30D1A5E6E3C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3241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2" name="Straight Connector 301" hidden="1">
              <a:extLst>
                <a:ext uri="{FF2B5EF4-FFF2-40B4-BE49-F238E27FC236}">
                  <a16:creationId xmlns:a16="http://schemas.microsoft.com/office/drawing/2014/main" id="{6737577C-398F-4B4C-BAB6-A13B2C2B585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024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3" name="Straight Connector 302" hidden="1">
              <a:extLst>
                <a:ext uri="{FF2B5EF4-FFF2-40B4-BE49-F238E27FC236}">
                  <a16:creationId xmlns:a16="http://schemas.microsoft.com/office/drawing/2014/main" id="{61F3BB77-6340-46D7-AAC4-E788714E876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2773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4" name="Straight Connector 303" hidden="1">
              <a:extLst>
                <a:ext uri="{FF2B5EF4-FFF2-40B4-BE49-F238E27FC236}">
                  <a16:creationId xmlns:a16="http://schemas.microsoft.com/office/drawing/2014/main" id="{C32394F9-1C60-48EC-98D6-BA6D5ED17B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2305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5" name="Straight Connector 304" hidden="1">
              <a:extLst>
                <a:ext uri="{FF2B5EF4-FFF2-40B4-BE49-F238E27FC236}">
                  <a16:creationId xmlns:a16="http://schemas.microsoft.com/office/drawing/2014/main" id="{D2147D71-1001-4518-8300-83716520503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1837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6" name="Straight Connector 305" hidden="1">
              <a:extLst>
                <a:ext uri="{FF2B5EF4-FFF2-40B4-BE49-F238E27FC236}">
                  <a16:creationId xmlns:a16="http://schemas.microsoft.com/office/drawing/2014/main" id="{B52B5DD3-B80E-46A0-9CDD-F9D40A5CCB0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1369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7" name="Straight Connector 306" hidden="1">
              <a:extLst>
                <a:ext uri="{FF2B5EF4-FFF2-40B4-BE49-F238E27FC236}">
                  <a16:creationId xmlns:a16="http://schemas.microsoft.com/office/drawing/2014/main" id="{DA719995-0220-4BB2-8CE9-727CB2069D4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901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8" name="Straight Connector 307" hidden="1">
              <a:extLst>
                <a:ext uri="{FF2B5EF4-FFF2-40B4-BE49-F238E27FC236}">
                  <a16:creationId xmlns:a16="http://schemas.microsoft.com/office/drawing/2014/main" id="{CB93CB15-9DE5-4A05-ACB3-BD91B4568D3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433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9" name="Straight Connector 308" hidden="1">
              <a:extLst>
                <a:ext uri="{FF2B5EF4-FFF2-40B4-BE49-F238E27FC236}">
                  <a16:creationId xmlns:a16="http://schemas.microsoft.com/office/drawing/2014/main" id="{D4F309E9-DB74-430C-A0E2-5F8AE956D99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-342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0" name="Straight Connector 309" hidden="1">
              <a:extLst>
                <a:ext uri="{FF2B5EF4-FFF2-40B4-BE49-F238E27FC236}">
                  <a16:creationId xmlns:a16="http://schemas.microsoft.com/office/drawing/2014/main" id="{A8873914-8F40-4E54-9099-FB5894910A4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3241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1" name="Straight Connector 310" hidden="1">
              <a:extLst>
                <a:ext uri="{FF2B5EF4-FFF2-40B4-BE49-F238E27FC236}">
                  <a16:creationId xmlns:a16="http://schemas.microsoft.com/office/drawing/2014/main" id="{324289DE-E0F8-4EDF-8B72-39BDB17E125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3709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2" name="Straight Connector 311" hidden="1">
              <a:extLst>
                <a:ext uri="{FF2B5EF4-FFF2-40B4-BE49-F238E27FC236}">
                  <a16:creationId xmlns:a16="http://schemas.microsoft.com/office/drawing/2014/main" id="{48D09DFF-3AC1-4238-A369-3803F5127C4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4177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3" name="Straight Connector 312" hidden="1">
              <a:extLst>
                <a:ext uri="{FF2B5EF4-FFF2-40B4-BE49-F238E27FC236}">
                  <a16:creationId xmlns:a16="http://schemas.microsoft.com/office/drawing/2014/main" id="{5FBC1CD0-5D1F-458C-86D1-49C908FDF4A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4645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4" name="Straight Connector 313" hidden="1">
              <a:extLst>
                <a:ext uri="{FF2B5EF4-FFF2-40B4-BE49-F238E27FC236}">
                  <a16:creationId xmlns:a16="http://schemas.microsoft.com/office/drawing/2014/main" id="{817E8046-BB5A-4AAF-BB94-F80CBF2CBC8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5113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5" name="Straight Connector 314" hidden="1">
              <a:extLst>
                <a:ext uri="{FF2B5EF4-FFF2-40B4-BE49-F238E27FC236}">
                  <a16:creationId xmlns:a16="http://schemas.microsoft.com/office/drawing/2014/main" id="{E58CCB74-4B3A-4398-8878-75D153D3124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5581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6" name="Straight Connector 315" hidden="1">
              <a:extLst>
                <a:ext uri="{FF2B5EF4-FFF2-40B4-BE49-F238E27FC236}">
                  <a16:creationId xmlns:a16="http://schemas.microsoft.com/office/drawing/2014/main" id="{033D2289-FEDB-4F0D-8850-03176839BBD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6049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7" name="Straight Connector 316" hidden="1">
              <a:extLst>
                <a:ext uri="{FF2B5EF4-FFF2-40B4-BE49-F238E27FC236}">
                  <a16:creationId xmlns:a16="http://schemas.microsoft.com/office/drawing/2014/main" id="{6FA0C498-337E-4BE4-86D5-0B5AA7FDAFE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6517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8" name="Straight Connector 317" hidden="1">
              <a:extLst>
                <a:ext uri="{FF2B5EF4-FFF2-40B4-BE49-F238E27FC236}">
                  <a16:creationId xmlns:a16="http://schemas.microsoft.com/office/drawing/2014/main" id="{511FCAB4-B04C-4B4F-8C2C-3777519DA7F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3768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9" name="Straight Connector 318" hidden="1">
              <a:extLst>
                <a:ext uri="{FF2B5EF4-FFF2-40B4-BE49-F238E27FC236}">
                  <a16:creationId xmlns:a16="http://schemas.microsoft.com/office/drawing/2014/main" id="{540E4E6F-888E-47F6-A35B-46E6BDB233D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7512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0" name="Straight Connector 319" hidden="1">
              <a:extLst>
                <a:ext uri="{FF2B5EF4-FFF2-40B4-BE49-F238E27FC236}">
                  <a16:creationId xmlns:a16="http://schemas.microsoft.com/office/drawing/2014/main" id="{8D783BB6-4F64-4BA0-8CB5-576365009A5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1256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1" name="Straight Connector 320" hidden="1">
              <a:extLst>
                <a:ext uri="{FF2B5EF4-FFF2-40B4-BE49-F238E27FC236}">
                  <a16:creationId xmlns:a16="http://schemas.microsoft.com/office/drawing/2014/main" id="{2FB8091E-B86B-40C7-B438-5A8DAF3F373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5000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2" name="Straight Connector 321" hidden="1">
              <a:extLst>
                <a:ext uri="{FF2B5EF4-FFF2-40B4-BE49-F238E27FC236}">
                  <a16:creationId xmlns:a16="http://schemas.microsoft.com/office/drawing/2014/main" id="{1C622E4C-DE1D-4D72-950C-F6F7F503C72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8744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3" name="Straight Connector 322" hidden="1">
              <a:extLst>
                <a:ext uri="{FF2B5EF4-FFF2-40B4-BE49-F238E27FC236}">
                  <a16:creationId xmlns:a16="http://schemas.microsoft.com/office/drawing/2014/main" id="{E85C9C77-EDDE-4053-851F-97775DB15B3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2488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4" name="Straight Connector 323" hidden="1">
              <a:extLst>
                <a:ext uri="{FF2B5EF4-FFF2-40B4-BE49-F238E27FC236}">
                  <a16:creationId xmlns:a16="http://schemas.microsoft.com/office/drawing/2014/main" id="{EDE7F48D-D148-4BD3-9B5A-E9082189498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6232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5" name="Straight Connector 324" hidden="1">
              <a:extLst>
                <a:ext uri="{FF2B5EF4-FFF2-40B4-BE49-F238E27FC236}">
                  <a16:creationId xmlns:a16="http://schemas.microsoft.com/office/drawing/2014/main" id="{8119006E-21FF-40D5-AD9A-E735C49E71D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9976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6" name="Straight Connector 325" hidden="1">
              <a:extLst>
                <a:ext uri="{FF2B5EF4-FFF2-40B4-BE49-F238E27FC236}">
                  <a16:creationId xmlns:a16="http://schemas.microsoft.com/office/drawing/2014/main" id="{FF71DEC0-BA85-47AC-9B05-C43CBFEA95E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3720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7" name="Straight Connector 326" hidden="1">
              <a:extLst>
                <a:ext uri="{FF2B5EF4-FFF2-40B4-BE49-F238E27FC236}">
                  <a16:creationId xmlns:a16="http://schemas.microsoft.com/office/drawing/2014/main" id="{4995F406-2D81-4563-A04C-156ED742829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7464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8" name="Straight Connector 327" hidden="1">
              <a:extLst>
                <a:ext uri="{FF2B5EF4-FFF2-40B4-BE49-F238E27FC236}">
                  <a16:creationId xmlns:a16="http://schemas.microsoft.com/office/drawing/2014/main" id="{71FB6C91-9BEA-4E57-B92F-4BE3DAC3BD6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1208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9" name="Straight Connector 328" hidden="1">
              <a:extLst>
                <a:ext uri="{FF2B5EF4-FFF2-40B4-BE49-F238E27FC236}">
                  <a16:creationId xmlns:a16="http://schemas.microsoft.com/office/drawing/2014/main" id="{AAF24AF1-EEAD-4D90-965C-9AE126504AD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4952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0" name="Straight Connector 329" hidden="1">
              <a:extLst>
                <a:ext uri="{FF2B5EF4-FFF2-40B4-BE49-F238E27FC236}">
                  <a16:creationId xmlns:a16="http://schemas.microsoft.com/office/drawing/2014/main" id="{2BE91DA1-C8BE-44DC-8452-324FE5B3870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8696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1" name="Straight Connector 330" hidden="1">
              <a:extLst>
                <a:ext uri="{FF2B5EF4-FFF2-40B4-BE49-F238E27FC236}">
                  <a16:creationId xmlns:a16="http://schemas.microsoft.com/office/drawing/2014/main" id="{B57928EE-5A2E-47A4-86C8-8E08B795D6E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2440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2" name="Straight Connector 331" hidden="1">
              <a:extLst>
                <a:ext uri="{FF2B5EF4-FFF2-40B4-BE49-F238E27FC236}">
                  <a16:creationId xmlns:a16="http://schemas.microsoft.com/office/drawing/2014/main" id="{90817F6C-93C7-4A2F-844D-EEC0864B493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6184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3" name="Straight Connector 332" hidden="1">
              <a:extLst>
                <a:ext uri="{FF2B5EF4-FFF2-40B4-BE49-F238E27FC236}">
                  <a16:creationId xmlns:a16="http://schemas.microsoft.com/office/drawing/2014/main" id="{A824F516-3C62-4A83-8A2F-C597C145853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9928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4" name="Straight Connector 333" hidden="1">
              <a:extLst>
                <a:ext uri="{FF2B5EF4-FFF2-40B4-BE49-F238E27FC236}">
                  <a16:creationId xmlns:a16="http://schemas.microsoft.com/office/drawing/2014/main" id="{575C7B0F-53E6-404C-A096-E20F0508EB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6280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5" name="Straight Connector 334" hidden="1">
              <a:extLst>
                <a:ext uri="{FF2B5EF4-FFF2-40B4-BE49-F238E27FC236}">
                  <a16:creationId xmlns:a16="http://schemas.microsoft.com/office/drawing/2014/main" id="{EEBDA4A6-D35F-4D08-87C9-B93A6EAF403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2536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6" name="Straight Connector 335" hidden="1">
              <a:extLst>
                <a:ext uri="{FF2B5EF4-FFF2-40B4-BE49-F238E27FC236}">
                  <a16:creationId xmlns:a16="http://schemas.microsoft.com/office/drawing/2014/main" id="{627F72B9-76BF-4391-9BC9-E3B85369D8F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8792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7" name="Straight Connector 336" hidden="1">
              <a:extLst>
                <a:ext uri="{FF2B5EF4-FFF2-40B4-BE49-F238E27FC236}">
                  <a16:creationId xmlns:a16="http://schemas.microsoft.com/office/drawing/2014/main" id="{F31F1370-C081-4B29-83D7-DB2A4E73AC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5048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8" name="Straight Connector 337" hidden="1">
              <a:extLst>
                <a:ext uri="{FF2B5EF4-FFF2-40B4-BE49-F238E27FC236}">
                  <a16:creationId xmlns:a16="http://schemas.microsoft.com/office/drawing/2014/main" id="{DB23C504-C3EB-442F-81C4-06CEFB43D03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1304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9" name="Straight Connector 338" hidden="1">
              <a:extLst>
                <a:ext uri="{FF2B5EF4-FFF2-40B4-BE49-F238E27FC236}">
                  <a16:creationId xmlns:a16="http://schemas.microsoft.com/office/drawing/2014/main" id="{8F2E88F4-224A-4DF8-A1AD-E99EE2D28BE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7560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0" name="Straight Connector 339" hidden="1">
              <a:extLst>
                <a:ext uri="{FF2B5EF4-FFF2-40B4-BE49-F238E27FC236}">
                  <a16:creationId xmlns:a16="http://schemas.microsoft.com/office/drawing/2014/main" id="{C5EAE255-8630-4283-BDD8-6EE7C540D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3816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1" name="Straight Connector 340" hidden="1">
              <a:extLst>
                <a:ext uri="{FF2B5EF4-FFF2-40B4-BE49-F238E27FC236}">
                  <a16:creationId xmlns:a16="http://schemas.microsoft.com/office/drawing/2014/main" id="{A561162D-47AF-4E01-B81F-CD78A03E1BD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0072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2" name="Straight Connector 341" hidden="1">
              <a:extLst>
                <a:ext uri="{FF2B5EF4-FFF2-40B4-BE49-F238E27FC236}">
                  <a16:creationId xmlns:a16="http://schemas.microsoft.com/office/drawing/2014/main" id="{2C20074D-4C49-46CB-9931-819778D38C5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6328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3" name="Straight Connector 342" hidden="1">
              <a:extLst>
                <a:ext uri="{FF2B5EF4-FFF2-40B4-BE49-F238E27FC236}">
                  <a16:creationId xmlns:a16="http://schemas.microsoft.com/office/drawing/2014/main" id="{062FA2EE-A4D8-4A37-BB39-9A8A23ABE25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2584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4" name="Straight Connector 343" hidden="1">
              <a:extLst>
                <a:ext uri="{FF2B5EF4-FFF2-40B4-BE49-F238E27FC236}">
                  <a16:creationId xmlns:a16="http://schemas.microsoft.com/office/drawing/2014/main" id="{6C661B57-DBAB-41A7-B2AC-C814132D30E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8840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5" name="Straight Connector 344" hidden="1">
              <a:extLst>
                <a:ext uri="{FF2B5EF4-FFF2-40B4-BE49-F238E27FC236}">
                  <a16:creationId xmlns:a16="http://schemas.microsoft.com/office/drawing/2014/main" id="{209F4A46-4D75-4F8F-88B9-BE8F6A463C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5096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6" name="Straight Connector 345" hidden="1">
              <a:extLst>
                <a:ext uri="{FF2B5EF4-FFF2-40B4-BE49-F238E27FC236}">
                  <a16:creationId xmlns:a16="http://schemas.microsoft.com/office/drawing/2014/main" id="{01FB4020-8697-49A5-812E-93760AA24DB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352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7" name="Straight Connector 346" hidden="1">
              <a:extLst>
                <a:ext uri="{FF2B5EF4-FFF2-40B4-BE49-F238E27FC236}">
                  <a16:creationId xmlns:a16="http://schemas.microsoft.com/office/drawing/2014/main" id="{AB981469-9BFE-432D-A134-6F34C8ECD1A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608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8" name="Straight Connector 347" hidden="1">
              <a:extLst>
                <a:ext uri="{FF2B5EF4-FFF2-40B4-BE49-F238E27FC236}">
                  <a16:creationId xmlns:a16="http://schemas.microsoft.com/office/drawing/2014/main" id="{64F910DD-E3AB-4094-BD87-390D1948619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9" name="Straight Connector 348" hidden="1">
              <a:extLst>
                <a:ext uri="{FF2B5EF4-FFF2-40B4-BE49-F238E27FC236}">
                  <a16:creationId xmlns:a16="http://schemas.microsoft.com/office/drawing/2014/main" id="{8172B6B2-B6E9-42F2-9E21-D99612FECB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672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50" name="Straight Connector 349" hidden="1">
              <a:extLst>
                <a:ext uri="{FF2B5EF4-FFF2-40B4-BE49-F238E27FC236}">
                  <a16:creationId xmlns:a16="http://schemas.microsoft.com/office/drawing/2014/main" id="{FF9B3914-70C1-4B52-B02C-76628BFC9B7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51" name="Straight Connector 350" hidden="1">
              <a:extLst>
                <a:ext uri="{FF2B5EF4-FFF2-40B4-BE49-F238E27FC236}">
                  <a16:creationId xmlns:a16="http://schemas.microsoft.com/office/drawing/2014/main" id="{FFD30D47-D357-4EF4-A460-4DCBFC957D2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0" y="6985800"/>
              <a:ext cx="123672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 useBgFill="1">
        <p:nvSpPr>
          <p:cNvPr id="3" name="Title Placeholder">
            <a:extLst>
              <a:ext uri="{FF2B5EF4-FFF2-40B4-BE49-F238E27FC236}">
                <a16:creationId xmlns:a16="http://schemas.microsoft.com/office/drawing/2014/main" id="{6204A2EB-1C19-4C64-81DC-1BDFEC05E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5764" y="433388"/>
            <a:ext cx="10858500" cy="372967"/>
          </a:xfrm>
          <a:prstGeom prst="rect">
            <a:avLst/>
          </a:prstGeom>
        </p:spPr>
        <p:txBody>
          <a:bodyPr vert="horz" wrap="square" lIns="0" tIns="3600" rIns="0" bIns="0" rtlCol="0" anchor="t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Text Placeholder">
            <a:extLst>
              <a:ext uri="{FF2B5EF4-FFF2-40B4-BE49-F238E27FC236}">
                <a16:creationId xmlns:a16="http://schemas.microsoft.com/office/drawing/2014/main" id="{EDC0CEFE-B93D-446C-A98D-4EBC1C91F35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5764" y="1370012"/>
            <a:ext cx="10858500" cy="467995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Date Placeholder">
            <a:extLst>
              <a:ext uri="{FF2B5EF4-FFF2-40B4-BE49-F238E27FC236}">
                <a16:creationId xmlns:a16="http://schemas.microsoft.com/office/drawing/2014/main" id="{A27FC136-A26A-487A-91EC-E1BE2A7C6D4D}"/>
              </a:ext>
            </a:extLst>
          </p:cNvPr>
          <p:cNvSpPr>
            <a:spLocks noGrp="1"/>
          </p:cNvSpPr>
          <p:nvPr>
            <p:ph type="dt" sz="half" idx="8"/>
          </p:nvPr>
        </p:nvSpPr>
        <p:spPr>
          <a:xfrm>
            <a:off x="1135064" y="6518273"/>
            <a:ext cx="1076536" cy="139926"/>
          </a:xfrm>
          <a:prstGeom prst="rect">
            <a:avLst/>
          </a:prstGeom>
        </p:spPr>
        <p:txBody>
          <a:bodyPr vert="horz" lIns="0" tIns="187200" rIns="0" bIns="0" rtlCol="0" anchor="b"/>
          <a:lstStyle>
            <a:lvl1pPr>
              <a:defRPr lang="en-US" sz="700"/>
            </a:lvl1pPr>
          </a:lstStyle>
          <a:p>
            <a:pPr>
              <a:lnSpc>
                <a:spcPct val="110000"/>
              </a:lnSpc>
              <a:spcAft>
                <a:spcPts val="0"/>
              </a:spcAft>
            </a:pPr>
            <a:fld id="{DDEC559E-07BB-4B63-8C94-01E860D56791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October 24, 2023</a:t>
            </a:fld>
            <a:endParaRPr lang="en-US" dirty="0"/>
          </a:p>
        </p:txBody>
      </p:sp>
      <p:sp>
        <p:nvSpPr>
          <p:cNvPr id="102" name="empower - DO NOT DELETE!!!" hidden="1">
            <a:extLst>
              <a:ext uri="{FF2B5EF4-FFF2-40B4-BE49-F238E27FC236}">
                <a16:creationId xmlns:a16="http://schemas.microsoft.com/office/drawing/2014/main" id="{FED25113-06BE-4303-8C56-C7ECFD0C1D96}"/>
              </a:ext>
            </a:extLst>
          </p:cNvPr>
          <p:cNvSpPr/>
          <p:nvPr>
            <p:custDataLst>
              <p:tags r:id="rId33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/>
          </a:p>
        </p:txBody>
      </p:sp>
      <p:sp>
        <p:nvSpPr>
          <p:cNvPr id="103" name="Note Footer" hidden="1">
            <a:extLst>
              <a:ext uri="{FF2B5EF4-FFF2-40B4-BE49-F238E27FC236}">
                <a16:creationId xmlns:a16="http://schemas.microsoft.com/office/drawing/2014/main" id="{874FC37C-0743-4F3A-A2FA-52CD313C8FD2}"/>
              </a:ext>
            </a:extLst>
          </p:cNvPr>
          <p:cNvSpPr/>
          <p:nvPr>
            <p:custDataLst>
              <p:tags r:id="rId34"/>
            </p:custDataLst>
          </p:nvPr>
        </p:nvSpPr>
        <p:spPr>
          <a:xfrm>
            <a:off x="-3170400" y="22636"/>
            <a:ext cx="2901600" cy="2376764"/>
          </a:xfrm>
          <a:prstGeom prst="rect">
            <a:avLst/>
          </a:prstGeom>
          <a:gradFill flip="none" rotWithShape="1">
            <a:gsLst>
              <a:gs pos="1000">
                <a:srgbClr val="0D26AC"/>
              </a:gs>
              <a:gs pos="99000">
                <a:srgbClr val="009FDE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288000" rIns="288000" bIns="288000" rtlCol="0" anchor="t"/>
          <a:lstStyle/>
          <a:p>
            <a:pPr algn="l"/>
            <a:r>
              <a:rPr lang="en-US" sz="1200" b="1" dirty="0"/>
              <a:t>Add image</a:t>
            </a:r>
          </a:p>
          <a:p>
            <a:pPr algn="l"/>
            <a:r>
              <a:rPr lang="en-US" sz="1200" dirty="0"/>
              <a:t>To add an image to this slide you can drag an image to the slide. Or click the icon to select the image.</a:t>
            </a:r>
          </a:p>
          <a:p>
            <a:pPr algn="l"/>
            <a:r>
              <a:rPr lang="en-US" sz="1200" dirty="0"/>
              <a:t>If you want to reposition the image right click it and select Crop. Now you can use the round handles to change the size or drag the image to reposition it.</a:t>
            </a:r>
          </a:p>
        </p:txBody>
      </p:sp>
      <p:sp>
        <p:nvSpPr>
          <p:cNvPr id="104" name="Note Image" hidden="1">
            <a:extLst>
              <a:ext uri="{FF2B5EF4-FFF2-40B4-BE49-F238E27FC236}">
                <a16:creationId xmlns:a16="http://schemas.microsoft.com/office/drawing/2014/main" id="{490EDF33-79D6-42D6-A539-7968E42924EA}"/>
              </a:ext>
            </a:extLst>
          </p:cNvPr>
          <p:cNvSpPr/>
          <p:nvPr>
            <p:custDataLst>
              <p:tags r:id="rId35"/>
            </p:custDataLst>
          </p:nvPr>
        </p:nvSpPr>
        <p:spPr>
          <a:xfrm>
            <a:off x="-3170400" y="4892400"/>
            <a:ext cx="2901600" cy="1965600"/>
          </a:xfrm>
          <a:prstGeom prst="rect">
            <a:avLst/>
          </a:prstGeom>
          <a:gradFill flip="none" rotWithShape="1">
            <a:gsLst>
              <a:gs pos="1000">
                <a:srgbClr val="0D26AC"/>
              </a:gs>
              <a:gs pos="99000">
                <a:srgbClr val="009FDE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288000" rIns="288000" bIns="288000" rtlCol="0" anchor="ctr"/>
          <a:lstStyle/>
          <a:p>
            <a:pPr algn="l"/>
            <a:r>
              <a:rPr lang="en-US" sz="1200" b="1" dirty="0"/>
              <a:t>Add footer</a:t>
            </a:r>
          </a:p>
          <a:p>
            <a:pPr algn="l"/>
            <a:r>
              <a:rPr lang="en-US" sz="1200" dirty="0"/>
              <a:t>You can edit the footer (e.g. presentation description, date) using the slide via the </a:t>
            </a:r>
            <a:r>
              <a:rPr lang="en-US" sz="1200" b="1" dirty="0"/>
              <a:t>empower(R) presentation settings.</a:t>
            </a:r>
          </a:p>
          <a:p>
            <a:pPr algn="l"/>
            <a:r>
              <a:rPr lang="en-US" sz="1200" dirty="0"/>
              <a:t>Select and set the elements you want to show on either one or all slides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9AF629C-9AF9-4125-871F-9B52510058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58400" y="6518277"/>
            <a:ext cx="8985600" cy="139924"/>
          </a:xfrm>
          <a:prstGeom prst="rect">
            <a:avLst/>
          </a:prstGeom>
        </p:spPr>
        <p:txBody>
          <a:bodyPr vert="horz" lIns="0" tIns="187200" rIns="0" bIns="0" rtlCol="0" anchor="b"/>
          <a:lstStyle>
            <a:lvl1pPr>
              <a:defRPr lang="en-US" sz="700"/>
            </a:lvl1pPr>
          </a:lstStyle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5F6BB2D-86F7-7E0E-51F4-AD7D39854F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age </a:t>
            </a:r>
            <a:fld id="{80AA4FC3-2611-470F-8F65-3665378A6692}" type="slidenum">
              <a:rPr lang="en-US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60" r:id="rId2"/>
    <p:sldLayoutId id="2147483679" r:id="rId3"/>
    <p:sldLayoutId id="2147483659" r:id="rId4"/>
    <p:sldLayoutId id="2147483653" r:id="rId5"/>
    <p:sldLayoutId id="2147483672" r:id="rId6"/>
    <p:sldLayoutId id="2147483674" r:id="rId7"/>
    <p:sldLayoutId id="2147483683" r:id="rId8"/>
    <p:sldLayoutId id="2147483682" r:id="rId9"/>
    <p:sldLayoutId id="2147483681" r:id="rId10"/>
    <p:sldLayoutId id="2147483684" r:id="rId11"/>
    <p:sldLayoutId id="2147483685" r:id="rId12"/>
    <p:sldLayoutId id="2147483686" r:id="rId13"/>
    <p:sldLayoutId id="2147483687" r:id="rId14"/>
    <p:sldLayoutId id="2147483688" r:id="rId15"/>
    <p:sldLayoutId id="2147483689" r:id="rId16"/>
    <p:sldLayoutId id="2147483690" r:id="rId17"/>
    <p:sldLayoutId id="2147483691" r:id="rId18"/>
    <p:sldLayoutId id="2147483692" r:id="rId19"/>
    <p:sldLayoutId id="2147483693" r:id="rId20"/>
    <p:sldLayoutId id="2147483694" r:id="rId21"/>
    <p:sldLayoutId id="2147483695" r:id="rId22"/>
    <p:sldLayoutId id="2147483696" r:id="rId23"/>
    <p:sldLayoutId id="2147483697" r:id="rId24"/>
    <p:sldLayoutId id="2147483698" r:id="rId25"/>
    <p:sldLayoutId id="2147483699" r:id="rId26"/>
    <p:sldLayoutId id="2147483671" r:id="rId27"/>
    <p:sldLayoutId id="2147483678" r:id="rId28"/>
    <p:sldLayoutId id="2147483680" r:id="rId29"/>
  </p:sldLayoutIdLst>
  <p:hf hdr="0"/>
  <p:txStyles>
    <p:titleStyle>
      <a:lvl1pPr algn="l" defTabSz="374400" rtl="0" eaLnBrk="1" latinLnBrk="0" hangingPunct="1">
        <a:lnSpc>
          <a:spcPct val="100000"/>
        </a:lnSpc>
        <a:spcBef>
          <a:spcPct val="0"/>
        </a:spcBef>
        <a:spcAft>
          <a:spcPts val="737"/>
        </a:spcAft>
        <a:buNone/>
        <a:defRPr sz="2400" b="1" kern="120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37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339725" indent="-339725" algn="l" defTabSz="37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b="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568325" indent="-228600" algn="l" defTabSz="37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SzPct val="110000"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853200" indent="-284400" algn="l" defTabSz="37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•"/>
        <a:defRPr sz="11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137600" indent="-284400" algn="l" defTabSz="374400" rtl="0" eaLnBrk="1" latinLnBrk="0" hangingPunct="1">
        <a:lnSpc>
          <a:spcPct val="100000"/>
        </a:lnSpc>
        <a:spcBef>
          <a:spcPts val="0"/>
        </a:spcBef>
        <a:spcAft>
          <a:spcPts val="100"/>
        </a:spcAft>
        <a:buSzPct val="90000"/>
        <a:buFont typeface="Arial" panose="020B0604020202020204" pitchFamily="34" charset="0"/>
        <a:buChar char="•"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422000" indent="-284400" algn="l" defTabSz="374400" rtl="0" eaLnBrk="1" latinLnBrk="0" hangingPunct="1">
        <a:lnSpc>
          <a:spcPct val="100000"/>
        </a:lnSpc>
        <a:spcBef>
          <a:spcPts val="0"/>
        </a:spcBef>
        <a:spcAft>
          <a:spcPts val="100"/>
        </a:spcAft>
        <a:buFont typeface="Arial" panose="020B0604020202020204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706400" indent="-284400" algn="l" defTabSz="374400" rtl="0" eaLnBrk="1" latinLnBrk="0" hangingPunct="1">
        <a:lnSpc>
          <a:spcPct val="100000"/>
        </a:lnSpc>
        <a:spcBef>
          <a:spcPts val="0"/>
        </a:spcBef>
        <a:spcAft>
          <a:spcPts val="100"/>
        </a:spcAft>
        <a:buFont typeface="Arial" panose="020B0604020202020204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990800" indent="-284400" algn="l" defTabSz="374400" rtl="0" eaLnBrk="1" latinLnBrk="0" hangingPunct="1">
        <a:lnSpc>
          <a:spcPct val="100000"/>
        </a:lnSpc>
        <a:spcBef>
          <a:spcPts val="0"/>
        </a:spcBef>
        <a:spcAft>
          <a:spcPts val="100"/>
        </a:spcAft>
        <a:buFont typeface="Arial" panose="020B0604020202020204" pitchFamily="34" charset="0"/>
        <a:buChar char="•"/>
        <a:defRPr sz="7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37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600" b="1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indent="0" algn="l" defTabSz="37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85750" indent="-285750" algn="l" defTabSz="37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b="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568800" indent="-284400" algn="l" defTabSz="37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SzPct val="110000"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853200" indent="-284400" algn="l" defTabSz="37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•"/>
        <a:defRPr sz="11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137600" indent="-284400" algn="l" defTabSz="374400" rtl="0" eaLnBrk="1" latinLnBrk="0" hangingPunct="1">
        <a:lnSpc>
          <a:spcPct val="100000"/>
        </a:lnSpc>
        <a:spcBef>
          <a:spcPts val="0"/>
        </a:spcBef>
        <a:spcAft>
          <a:spcPts val="100"/>
        </a:spcAft>
        <a:buSzPct val="90000"/>
        <a:buFont typeface="Arial" panose="020B0604020202020204" pitchFamily="34" charset="0"/>
        <a:buChar char="•"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422000" indent="-284400" algn="l" defTabSz="374400" rtl="0" eaLnBrk="1" latinLnBrk="0" hangingPunct="1">
        <a:lnSpc>
          <a:spcPct val="100000"/>
        </a:lnSpc>
        <a:spcBef>
          <a:spcPts val="0"/>
        </a:spcBef>
        <a:spcAft>
          <a:spcPts val="100"/>
        </a:spcAft>
        <a:buFont typeface="Arial" panose="020B0604020202020204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706400" indent="-284400" algn="l" defTabSz="374400" rtl="0" eaLnBrk="1" latinLnBrk="0" hangingPunct="1">
        <a:lnSpc>
          <a:spcPct val="100000"/>
        </a:lnSpc>
        <a:spcBef>
          <a:spcPts val="0"/>
        </a:spcBef>
        <a:spcAft>
          <a:spcPts val="100"/>
        </a:spcAft>
        <a:buFont typeface="Arial" panose="020B0604020202020204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990800" indent="-284400" algn="l" defTabSz="374400" rtl="0" eaLnBrk="1" latinLnBrk="0" hangingPunct="1">
        <a:lnSpc>
          <a:spcPct val="100000"/>
        </a:lnSpc>
        <a:spcBef>
          <a:spcPts val="0"/>
        </a:spcBef>
        <a:spcAft>
          <a:spcPts val="100"/>
        </a:spcAft>
        <a:buFont typeface="Arial" panose="020B0604020202020204" pitchFamily="34" charset="0"/>
        <a:buChar char="•"/>
        <a:defRPr sz="7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37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600" b="1" kern="1200" baseline="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B51A955-CFC4-4F04-83D3-B7228211B3DB}"/>
              </a:ext>
            </a:extLst>
          </p:cNvPr>
          <p:cNvSpPr>
            <a:spLocks noGrp="1"/>
          </p:cNvSpPr>
          <p:nvPr>
            <p:ph type="ftr" sz="quarter" idx="9"/>
          </p:nvPr>
        </p:nvSpPr>
        <p:spPr>
          <a:xfrm>
            <a:off x="12182947" y="6848947"/>
            <a:ext cx="0" cy="0"/>
          </a:xfrm>
        </p:spPr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E9EAA70-3028-435F-B1FC-D31DD21790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2182947" y="6848947"/>
            <a:ext cx="0" cy="0"/>
          </a:xfrm>
        </p:spPr>
        <p:txBody>
          <a:bodyPr/>
          <a:lstStyle/>
          <a:p>
            <a:fld id="{A2218858-49EA-4BF8-8EFE-B88A4580565A}" type="slidenum">
              <a:rPr lang="en-US"/>
              <a:pPr/>
              <a:t>1</a:t>
            </a:fld>
            <a:endParaRPr lang="en-US" dirty="0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9A4E44F1-7D5E-4F87-918E-B7456E027472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/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AFA7A119-91B3-4EF8-8BAA-ABA30524E73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Subtitle 11">
            <a:extLst>
              <a:ext uri="{FF2B5EF4-FFF2-40B4-BE49-F238E27FC236}">
                <a16:creationId xmlns:a16="http://schemas.microsoft.com/office/drawing/2014/main" id="{D6508DA1-A757-4321-A5F7-822E5A794AA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88D2F8F6-D39E-421C-9E1D-A0E9BFFD9618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210F3688-3D64-41CE-9799-8D7464E0D0C3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E13D0E2B-4147-4A92-93E9-4BF7D07B2FB3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9B3B1B1E-8EDF-4CB0-90F2-B82E438C177C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F39CA04-15E2-4EA1-BC06-208124904FF1}"/>
              </a:ext>
            </a:extLst>
          </p:cNvPr>
          <p:cNvSpPr>
            <a:spLocks noGrp="1"/>
          </p:cNvSpPr>
          <p:nvPr>
            <p:ph type="dt" sz="half" idx="8"/>
          </p:nvPr>
        </p:nvSpPr>
        <p:spPr/>
        <p:txBody>
          <a:bodyPr/>
          <a:lstStyle/>
          <a:p>
            <a:fld id="{63DDB710-0227-4EAB-8159-7458BF5EFB73}" type="datetime4">
              <a:rPr lang="en-US"/>
              <a:pPr/>
              <a:t>October 24, 2023</a:t>
            </a:fld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78BDC45-E43D-F262-BEFB-A25D4E635772}"/>
              </a:ext>
            </a:extLst>
          </p:cNvPr>
          <p:cNvSpPr txBox="1"/>
          <p:nvPr/>
        </p:nvSpPr>
        <p:spPr>
          <a:xfrm>
            <a:off x="4515112" y="4320367"/>
            <a:ext cx="5096401" cy="17543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200" dirty="0">
                <a:solidFill>
                  <a:schemeClr val="lt1"/>
                </a:solidFill>
              </a:rPr>
              <a:t>CREATION DATE: YYYY-MM-DD</a:t>
            </a:r>
          </a:p>
        </p:txBody>
      </p:sp>
    </p:spTree>
    <p:extLst>
      <p:ext uri="{BB962C8B-B14F-4D97-AF65-F5344CB8AC3E}">
        <p14:creationId xmlns:p14="http://schemas.microsoft.com/office/powerpoint/2010/main" val="2995711811"/>
      </p:ext>
    </p:extLst>
  </p:cSld>
  <p:clrMapOvr>
    <a:masterClrMapping/>
  </p:clrMapOvr>
  <p:transition spd="slow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68888242-FCC7-4F60-84D4-FD7B207074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Subtitle 11">
            <a:extLst>
              <a:ext uri="{FF2B5EF4-FFF2-40B4-BE49-F238E27FC236}">
                <a16:creationId xmlns:a16="http://schemas.microsoft.com/office/drawing/2014/main" id="{1ED1E9E1-C231-A577-E8C1-BA29CF80B55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BB64EF1-46CA-BC4D-2E89-AF9F6A4A6372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fld id="{C14CD3A7-9E40-46FB-A41D-9CC29415685D}" type="datetime4">
              <a:rPr lang="en-US"/>
              <a:pPr/>
              <a:t>October 24, 20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1F34B85-B5F8-9AA1-E8CA-FE9E8F0BED6C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8EF9B8-B25D-F062-5681-ABA68DBEA6A2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A2218858-49EA-4BF8-8EFE-B88A4580565A}" type="slidenum">
              <a:rPr/>
              <a:pPr/>
              <a:t>2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320913A-A84A-33A6-A058-FDBBD3B1DA6C}"/>
              </a:ext>
            </a:extLst>
          </p:cNvPr>
          <p:cNvSpPr/>
          <p:nvPr/>
        </p:nvSpPr>
        <p:spPr>
          <a:xfrm>
            <a:off x="582000" y="1883979"/>
            <a:ext cx="1676400" cy="175260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B1</a:t>
            </a:r>
            <a:br>
              <a:rPr lang="en-US" dirty="0"/>
            </a:br>
            <a:r>
              <a:rPr lang="en-US" dirty="0"/>
              <a:t>Capability 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7C1B77D-3F0D-C7B9-8D0A-F0C5D0FC0B22}"/>
              </a:ext>
            </a:extLst>
          </p:cNvPr>
          <p:cNvSpPr/>
          <p:nvPr/>
        </p:nvSpPr>
        <p:spPr>
          <a:xfrm>
            <a:off x="3200400" y="1903922"/>
            <a:ext cx="1676400" cy="175260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B2</a:t>
            </a:r>
            <a:br>
              <a:rPr lang="en-US" dirty="0"/>
            </a:br>
            <a:r>
              <a:rPr lang="en-US" dirty="0"/>
              <a:t>Capability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ED69273-C2F9-A2A7-F1C1-862637B1A175}"/>
              </a:ext>
            </a:extLst>
          </p:cNvPr>
          <p:cNvSpPr/>
          <p:nvPr/>
        </p:nvSpPr>
        <p:spPr>
          <a:xfrm>
            <a:off x="6096000" y="1948591"/>
            <a:ext cx="1676400" cy="175260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B3 </a:t>
            </a:r>
            <a:br>
              <a:rPr lang="en-US" dirty="0"/>
            </a:br>
            <a:r>
              <a:rPr lang="en-US" dirty="0"/>
              <a:t>Capability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4199989-781B-1A25-7505-06FD7DE928C2}"/>
              </a:ext>
            </a:extLst>
          </p:cNvPr>
          <p:cNvSpPr/>
          <p:nvPr/>
        </p:nvSpPr>
        <p:spPr>
          <a:xfrm>
            <a:off x="9023131" y="1956474"/>
            <a:ext cx="1676400" cy="175260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B4 </a:t>
            </a:r>
            <a:br>
              <a:rPr lang="en-US" dirty="0"/>
            </a:br>
            <a:r>
              <a:rPr lang="en-US" dirty="0"/>
              <a:t>Capability </a:t>
            </a:r>
          </a:p>
          <a:p>
            <a:pPr algn="ctr"/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6AD9D3E-49AF-45C6-3121-3053A921FF2A}"/>
              </a:ext>
            </a:extLst>
          </p:cNvPr>
          <p:cNvSpPr/>
          <p:nvPr/>
        </p:nvSpPr>
        <p:spPr>
          <a:xfrm>
            <a:off x="582000" y="4120750"/>
            <a:ext cx="1676400" cy="175260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Feature</a:t>
            </a:r>
            <a:br>
              <a:rPr lang="en-US" dirty="0"/>
            </a:br>
            <a:r>
              <a:rPr lang="en-US" dirty="0"/>
              <a:t>Business </a:t>
            </a:r>
            <a:br>
              <a:rPr lang="en-US" dirty="0"/>
            </a:br>
            <a:r>
              <a:rPr lang="en-US" dirty="0"/>
              <a:t>Valu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4456EA9-CAE3-114A-4473-DD110701E143}"/>
              </a:ext>
            </a:extLst>
          </p:cNvPr>
          <p:cNvSpPr/>
          <p:nvPr/>
        </p:nvSpPr>
        <p:spPr>
          <a:xfrm>
            <a:off x="3200400" y="4140693"/>
            <a:ext cx="1676400" cy="175260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Feature</a:t>
            </a:r>
            <a:br>
              <a:rPr lang="en-US" dirty="0"/>
            </a:br>
            <a:r>
              <a:rPr lang="en-US" dirty="0"/>
              <a:t>Business </a:t>
            </a:r>
            <a:br>
              <a:rPr lang="en-US" dirty="0"/>
            </a:br>
            <a:r>
              <a:rPr lang="en-US" dirty="0"/>
              <a:t>Value</a:t>
            </a:r>
          </a:p>
          <a:p>
            <a:pPr algn="ctr"/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FA25026-F30A-E26E-3A00-D5B2E5E95CF3}"/>
              </a:ext>
            </a:extLst>
          </p:cNvPr>
          <p:cNvSpPr/>
          <p:nvPr/>
        </p:nvSpPr>
        <p:spPr>
          <a:xfrm>
            <a:off x="6096000" y="4185362"/>
            <a:ext cx="1676400" cy="175260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Feature</a:t>
            </a:r>
            <a:br>
              <a:rPr lang="en-US" dirty="0"/>
            </a:br>
            <a:r>
              <a:rPr lang="en-US" dirty="0"/>
              <a:t>Business </a:t>
            </a:r>
            <a:br>
              <a:rPr lang="en-US" dirty="0"/>
            </a:br>
            <a:r>
              <a:rPr lang="en-US" dirty="0"/>
              <a:t>Valu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D52D14F-E897-4238-E5C0-DE0C72185B36}"/>
              </a:ext>
            </a:extLst>
          </p:cNvPr>
          <p:cNvSpPr/>
          <p:nvPr/>
        </p:nvSpPr>
        <p:spPr>
          <a:xfrm>
            <a:off x="9023131" y="4193245"/>
            <a:ext cx="1676400" cy="175260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Feature</a:t>
            </a:r>
            <a:br>
              <a:rPr lang="en-US" dirty="0"/>
            </a:br>
            <a:r>
              <a:rPr lang="en-US" dirty="0"/>
              <a:t>Business </a:t>
            </a:r>
            <a:br>
              <a:rPr lang="en-US" dirty="0"/>
            </a:br>
            <a:r>
              <a:rPr lang="en-US" dirty="0"/>
              <a:t>Value</a:t>
            </a:r>
          </a:p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02230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Text Placeholder 76">
            <a:extLst>
              <a:ext uri="{FF2B5EF4-FFF2-40B4-BE49-F238E27FC236}">
                <a16:creationId xmlns:a16="http://schemas.microsoft.com/office/drawing/2014/main" id="{C9ED04C4-E362-4F45-85DE-0248F62F67C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8" name="Text Placeholder 77">
            <a:extLst>
              <a:ext uri="{FF2B5EF4-FFF2-40B4-BE49-F238E27FC236}">
                <a16:creationId xmlns:a16="http://schemas.microsoft.com/office/drawing/2014/main" id="{42679498-4AE9-4C7D-97F2-11C5984C7D9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A61F027F-65B0-408F-A3E6-CC90A956904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0" name="Text Placeholder 79">
            <a:extLst>
              <a:ext uri="{FF2B5EF4-FFF2-40B4-BE49-F238E27FC236}">
                <a16:creationId xmlns:a16="http://schemas.microsoft.com/office/drawing/2014/main" id="{C552F0E8-B9BC-42C1-8CF3-888EEA04236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1" name="Text Placeholder 80">
            <a:extLst>
              <a:ext uri="{FF2B5EF4-FFF2-40B4-BE49-F238E27FC236}">
                <a16:creationId xmlns:a16="http://schemas.microsoft.com/office/drawing/2014/main" id="{1D5DC003-79B3-4FF5-93A8-66C079FF4DD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A252A81-A52D-49DA-B600-03B854944D4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1D8BC-CB65-49C2-B634-0E2718056066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2258400" y="6518277"/>
            <a:ext cx="8985600" cy="139924"/>
          </a:xfrm>
        </p:spPr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76555A1-A0C8-4520-AAFB-57D038688ADD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11431200" y="6518273"/>
            <a:ext cx="655199" cy="139701"/>
          </a:xfrm>
        </p:spPr>
        <p:txBody>
          <a:bodyPr/>
          <a:lstStyle/>
          <a:p>
            <a:fld id="{A2218858-49EA-4BF8-8EFE-B88A4580565A}" type="slidenum">
              <a:rPr lang="en-US"/>
              <a:pPr/>
              <a:t>3</a:t>
            </a:fld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15694D1-5B6E-43D5-B557-CD4050FA4D46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DB389492-908D-414E-9B10-5FBA9AAE3E0E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October 24, 20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9334251"/>
      </p:ext>
    </p:extLst>
  </p:cSld>
  <p:clrMapOvr>
    <a:masterClrMapping/>
  </p:clrMapOvr>
  <p:transition spd="slow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IBAQEBAQEBAQEBAQEBAQIAAAAAAAAAAwAAAAMAAAAA/////wQAJwwAAAAAAAAAAAAAIAD///////////////8AAAD////////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EAP///////wQAAAACABAACxsKfB5eh8NEpV+F1ZCrp4YFAAAAAAADAAAAAAADAAAAAwADAAAAAAD///////8DAAAAAAD///////8DAAAAAAD///////8DAAEA////////BAAAAAMAEAALtWiF7pGThUi/wwr0b4KTog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AMAAAAAAAAAAAAACAB////////////////AAAA////////////////BAAAAAM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aAAZMaW5rZWRTaGFwZXNEYXRhUHJvcGVydHlfMAUAAAAAAAQAAAADAAQAAAABAAQAAAAAAP///////wMAAQEDAAAAAwD///////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BsKfB5eh8NEpV+F1ZCrp4YDRGF0YQAbAAAABExpbmtlZFNoYXBlRGF0YQAFAAAAAAACTmFtZQAZAAAATGlua2VkU2hhcGVzRGF0YVByb3BlcnR5ABBWZXJzaW9uAAAAAAAJTGFzdFdyaXRlAHjprNF6AQAAAAEA/////50AnQAAAAVfaWQAEAAAAAS1aIXukZOFSL/DCvRvgpOiA0RhdGEAKgAAAAhQcmVzZW50YXRpb25TY2FubmVkRm9yTGlua2VkU2hhcGVzAAEAAk5hbWUAJAAAAExpbmtlZFNoYXBlUHJlc2VudGF0aW9uU2V0dGluZ3NEYXRhABBWZXJzaW9uAAAAAAAJTGFzdFdyaXRlAK7prNF6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  <p:tag name="COAUTHORING_SESSION_ID" val="a0816322-0148-42d8-b738-2e9d88c75492"/>
  <p:tag name="UNDO_REDO_REVISION" val="232"/>
  <p:tag name="MIO_PRESENTATION_LANGUAGE" val="103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how contact icons on closing slide(s);"/>
  <p:tag name="MIO_USER_INPUT_OPTIONAL" val=" "/>
  <p:tag name="MIO_USER_INPUT_FIXED" val=" 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Grid Support;"/>
  <p:tag name="MIO_USER_INPUT_OPTIONAL" val=" "/>
  <p:tag name="MIO_USER_INPUT_TEXT" val=" 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Grid Support;"/>
  <p:tag name="MIO_USER_INPUT_OPTIONAL" val=" "/>
  <p:tag name="MIO_USER_INPUT_FIXED" val=" 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EKGUID" val="101bf71b-ffc9-43c9-b0b7-cc5680e30b67"/>
  <p:tag name="MIO_UPDATE" val="True"/>
  <p:tag name="MIO_OBJECTNAME" val="ASML Master"/>
  <p:tag name="MIO_FALLBACK_LAYOUT" val="27"/>
  <p:tag name="MIO_SHOW_DATE" val="True"/>
  <p:tag name="MIO_SHOW_FOOTER" val="True"/>
  <p:tag name="MIO_SHOW_PAGENUMBER" val="True"/>
  <p:tag name="MIO_AVOID_BLANK_LAYOUT" val="False"/>
  <p:tag name="MIO_CD_LAYOUT_VALID_AREA" val="False"/>
  <p:tag name="MIO_EMBED_FONT" val="False"/>
  <p:tag name="MIO_MATCH_COLOR_SCHEME" val="True"/>
  <p:tag name="MIO_NUMBER_OF_VALID_LAYOUTS" val="29"/>
  <p:tag name="MIO_DBID" val="0F45B44C-9BC7-4D85-81C4-7155EE70A7B9"/>
  <p:tag name="MIO_VERSION" val="02.03.2023 17:39:23"/>
  <p:tag name="MIO_LASTDOWNLOADED" val="03.07.2023 14:13:13.609"/>
  <p:tag name="MIO_CDID" val="531547a1-6921-4a73-8514-e2d26a6e33a3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presentation support;"/>
  <p:tag name="MIO_USER_INPUT_OPTIONAL" val=" "/>
  <p:tag name="MIO_USER_INPUT_FIXED" val=" 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presentation support;"/>
  <p:tag name="MIO_USER_INPUT_OPTIONAL" val=" "/>
  <p:tag name="MIO_USER_INPUT_FIXED" val=" 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how contact icons on closing slide(s);"/>
  <p:tag name="MIO_USER_INPUT_OPTIONAL" val=" "/>
  <p:tag name="MIO_USER_INPUT_FIXED" val=" 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how contact icons on closing slide(s);"/>
  <p:tag name="MIO_USER_INPUT_OPTIONAL" val=" "/>
  <p:tag name="MIO_USER_INPUT_FIXED" val=" 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how contact icons on closing slide(s);"/>
  <p:tag name="MIO_USER_INPUT_OPTIONAL" val=" "/>
  <p:tag name="MIO_USER_INPUT_FIXED" val=" "/>
</p:tagLst>
</file>

<file path=ppt/theme/theme1.xml><?xml version="1.0" encoding="utf-8"?>
<a:theme xmlns:a="http://schemas.openxmlformats.org/drawingml/2006/main" name="ASML Template 2021">
  <a:themeElements>
    <a:clrScheme name="ASML Template">
      <a:dk1>
        <a:srgbClr val="000000"/>
      </a:dk1>
      <a:lt1>
        <a:srgbClr val="FFFFFF"/>
      </a:lt1>
      <a:dk2>
        <a:srgbClr val="00A3E0"/>
      </a:dk2>
      <a:lt2>
        <a:srgbClr val="E0E1E3"/>
      </a:lt2>
      <a:accent1>
        <a:srgbClr val="10069F"/>
      </a:accent1>
      <a:accent2>
        <a:srgbClr val="5A5B5E"/>
      </a:accent2>
      <a:accent3>
        <a:srgbClr val="FF6A13"/>
      </a:accent3>
      <a:accent4>
        <a:srgbClr val="43B02A"/>
      </a:accent4>
      <a:accent5>
        <a:srgbClr val="FFD100"/>
      </a:accent5>
      <a:accent6>
        <a:srgbClr val="8031A7"/>
      </a:accent6>
      <a:hlink>
        <a:srgbClr val="00A3E0"/>
      </a:hlink>
      <a:folHlink>
        <a:srgbClr val="00A3E0"/>
      </a:folHlink>
    </a:clrScheme>
    <a:fontScheme name="ASML Template">
      <a:majorFont>
        <a:latin typeface="Arial"/>
        <a:ea typeface="Microsoft JhengHei"/>
        <a:cs typeface="Arial"/>
      </a:majorFont>
      <a:minorFont>
        <a:latin typeface="Arial"/>
        <a:ea typeface="Microsoft JhengHei"/>
        <a:cs typeface="Arial"/>
      </a:minorFont>
    </a:fontScheme>
    <a:fmtScheme name="ASML Template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6350" cap="flat" cmpd="sng" algn="ctr">
          <a:solidFill>
            <a:schemeClr val="phClr"/>
          </a:solidFill>
          <a:prstDash val="solid"/>
          <a:miter/>
        </a:ln>
        <a:ln w="19050" cap="flat" cmpd="sng" algn="ctr">
          <a:solidFill>
            <a:schemeClr val="phClr"/>
          </a:solidFill>
          <a:prstDash val="solid"/>
          <a:miter/>
        </a:ln>
        <a:ln w="3810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accent1"/>
        </a:solidFill>
        <a:solidFill>
          <a:schemeClr val="accent2"/>
        </a:solidFill>
      </a:bgFillStyleLst>
    </a:fmtScheme>
  </a:themeElements>
  <a:objectDefaults>
    <a:spDef>
      <a:spPr/>
      <a:bodyPr/>
      <a:lstStyle/>
      <a:style>
        <a:lnRef idx="2">
          <a:schemeClr val="accent1"/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spAutoFit/>
      </a:bodyPr>
      <a:lstStyle>
        <a:defPPr algn="l" defTabSz="374400">
          <a:lnSpc>
            <a:spcPct val="95000"/>
          </a:lnSpc>
          <a:spcAft>
            <a:spcPts val="737"/>
          </a:spcAft>
          <a:defRPr sz="1600" dirty="0"/>
        </a:defPPr>
        <a:lvl1pPr marL="0" indent="0" algn="l" defTabSz="374400" rtl="0" eaLnBrk="1" latinLnBrk="0" hangingPunct="1">
          <a:lnSpc>
            <a:spcPct val="95000"/>
          </a:lnSpc>
          <a:spcBef>
            <a:spcPts val="369"/>
          </a:spcBef>
          <a:spcAft>
            <a:spcPts val="369"/>
          </a:spcAft>
          <a:buFontTx/>
          <a:buNone/>
          <a:defRPr sz="1600" kern="1200" baseline="0">
            <a:solidFill>
              <a:schemeClr val="tx1"/>
            </a:solidFill>
            <a:latin typeface="+mn-lt"/>
            <a:ea typeface="+mn-ea"/>
            <a:cs typeface="+mn-cs"/>
          </a:defRPr>
        </a:lvl1pPr>
        <a:lvl2pPr marL="0" indent="0" algn="l" defTabSz="374400" rtl="0" eaLnBrk="1" latinLnBrk="0" hangingPunct="1">
          <a:lnSpc>
            <a:spcPct val="95000"/>
          </a:lnSpc>
          <a:spcBef>
            <a:spcPts val="369"/>
          </a:spcBef>
          <a:spcAft>
            <a:spcPts val="369"/>
          </a:spcAft>
          <a:buFontTx/>
          <a:buNone/>
          <a:defRPr sz="1600" b="1" kern="1200" baseline="0">
            <a:solidFill>
              <a:schemeClr val="tx1"/>
            </a:solidFill>
            <a:latin typeface="+mn-lt"/>
            <a:ea typeface="+mn-ea"/>
            <a:cs typeface="+mn-cs"/>
          </a:defRPr>
        </a:lvl2pPr>
        <a:lvl3pPr marL="234000" indent="-234000" algn="l" defTabSz="374400" rtl="0" eaLnBrk="1" latinLnBrk="0" hangingPunct="1">
          <a:lnSpc>
            <a:spcPct val="95000"/>
          </a:lnSpc>
          <a:spcBef>
            <a:spcPts val="369"/>
          </a:spcBef>
          <a:spcAft>
            <a:spcPts val="369"/>
          </a:spcAft>
          <a:buSzPct val="110000"/>
          <a:buFont typeface="Arial" panose="020B0604020202020204" pitchFamily="34" charset="0"/>
          <a:buChar char="•"/>
          <a:defRPr sz="1600" kern="1200" baseline="0">
            <a:solidFill>
              <a:schemeClr val="tx1"/>
            </a:solidFill>
            <a:latin typeface="+mn-lt"/>
            <a:ea typeface="+mn-ea"/>
            <a:cs typeface="+mn-cs"/>
          </a:defRPr>
        </a:lvl3pPr>
        <a:lvl4pPr marL="468000" indent="-234000" algn="l" defTabSz="374400" rtl="0" eaLnBrk="1" latinLnBrk="0" hangingPunct="1">
          <a:lnSpc>
            <a:spcPct val="105000"/>
          </a:lnSpc>
          <a:spcBef>
            <a:spcPts val="200"/>
          </a:spcBef>
          <a:spcAft>
            <a:spcPts val="200"/>
          </a:spcAft>
          <a:buSzPct val="100000"/>
          <a:buFont typeface="Arial" panose="020B0604020202020204" pitchFamily="34" charset="0"/>
          <a:buChar char="•"/>
          <a:defRPr sz="1200" kern="1200" baseline="0">
            <a:solidFill>
              <a:schemeClr val="tx1"/>
            </a:solidFill>
            <a:latin typeface="+mn-lt"/>
            <a:ea typeface="+mn-ea"/>
            <a:cs typeface="+mn-cs"/>
          </a:defRPr>
        </a:lvl4pPr>
        <a:lvl5pPr marL="702000" indent="-234000" algn="l" defTabSz="374400" rtl="0" eaLnBrk="1" latinLnBrk="0" hangingPunct="1">
          <a:lnSpc>
            <a:spcPct val="110000"/>
          </a:lnSpc>
          <a:spcBef>
            <a:spcPts val="0"/>
          </a:spcBef>
          <a:spcAft>
            <a:spcPts val="0"/>
          </a:spcAft>
          <a:buSzPct val="90000"/>
          <a:buFont typeface="Arial" panose="020B0604020202020204" pitchFamily="34" charset="0"/>
          <a:buChar char="•"/>
          <a:defRPr sz="1000" kern="1200" baseline="0">
            <a:solidFill>
              <a:schemeClr val="tx1"/>
            </a:solidFill>
            <a:latin typeface="+mn-lt"/>
            <a:ea typeface="+mn-ea"/>
            <a:cs typeface="+mn-cs"/>
          </a:defRPr>
        </a:lvl5pPr>
        <a:lvl6pPr marL="234000" indent="-234000" algn="l" defTabSz="374400" rtl="0" eaLnBrk="1" latinLnBrk="0" hangingPunct="1">
          <a:lnSpc>
            <a:spcPct val="95000"/>
          </a:lnSpc>
          <a:spcBef>
            <a:spcPts val="369"/>
          </a:spcBef>
          <a:spcAft>
            <a:spcPts val="369"/>
          </a:spcAft>
          <a:buFont typeface="+mj-lt"/>
          <a:buAutoNum type="arabicPeriod"/>
          <a:defRPr sz="1600" kern="1200" baseline="0">
            <a:solidFill>
              <a:schemeClr val="tx1"/>
            </a:solidFill>
            <a:latin typeface="+mn-lt"/>
            <a:ea typeface="+mn-ea"/>
            <a:cs typeface="+mn-cs"/>
          </a:defRPr>
        </a:lvl6pPr>
        <a:lvl7pPr marL="468000" indent="-234000" algn="l" defTabSz="374400" rtl="0" eaLnBrk="1" latinLnBrk="0" hangingPunct="1">
          <a:lnSpc>
            <a:spcPct val="105000"/>
          </a:lnSpc>
          <a:spcBef>
            <a:spcPts val="200"/>
          </a:spcBef>
          <a:spcAft>
            <a:spcPts val="200"/>
          </a:spcAft>
          <a:buFont typeface="+mj-lt"/>
          <a:buAutoNum type="romanLcPeriod"/>
          <a:defRPr sz="1200" kern="1200" baseline="0">
            <a:solidFill>
              <a:schemeClr val="tx1"/>
            </a:solidFill>
            <a:latin typeface="+mn-lt"/>
            <a:ea typeface="+mn-ea"/>
            <a:cs typeface="+mn-cs"/>
          </a:defRPr>
        </a:lvl7pPr>
        <a:lvl8pPr marL="0" indent="0" algn="l" defTabSz="374400" rtl="0" eaLnBrk="1" latinLnBrk="0" hangingPunct="1">
          <a:lnSpc>
            <a:spcPct val="105000"/>
          </a:lnSpc>
          <a:spcBef>
            <a:spcPts val="200"/>
          </a:spcBef>
          <a:spcAft>
            <a:spcPts val="200"/>
          </a:spcAft>
          <a:buFontTx/>
          <a:buNone/>
          <a:defRPr sz="1200" kern="1200" baseline="0">
            <a:solidFill>
              <a:schemeClr val="tx1"/>
            </a:solidFill>
            <a:latin typeface="+mn-lt"/>
            <a:ea typeface="+mn-ea"/>
            <a:cs typeface="+mn-cs"/>
          </a:defRPr>
        </a:lvl8pPr>
        <a:lvl9pPr marL="0" indent="0" algn="l" defTabSz="374400" rtl="0" eaLnBrk="1" latinLnBrk="0" hangingPunct="1">
          <a:lnSpc>
            <a:spcPct val="110000"/>
          </a:lnSpc>
          <a:spcBef>
            <a:spcPts val="0"/>
          </a:spcBef>
          <a:spcAft>
            <a:spcPts val="0"/>
          </a:spcAft>
          <a:buFontTx/>
          <a:buNone/>
          <a:defRPr sz="1000" kern="1200" baseline="0">
            <a:solidFill>
              <a:schemeClr val="tx1"/>
            </a:solidFill>
            <a:latin typeface="+mn-lt"/>
            <a:ea typeface="+mn-ea"/>
            <a:cs typeface="+mn-cs"/>
          </a:defRPr>
        </a:lvl9pPr>
      </a:lstStyle>
    </a:txDef>
  </a:objectDefaults>
  <a:extraClrSchemeLst/>
  <a:custClrLst>
    <a:custClr name="ASML Blue">
      <a:srgbClr val="10069F"/>
    </a:custClr>
    <a:custClr name="ASML Light Blue">
      <a:srgbClr val="00A3E0"/>
    </a:custClr>
    <a:custClr name="ASML Teal">
      <a:srgbClr val="00BFB3"/>
    </a:custClr>
    <a:custClr name="ASML Green">
      <a:srgbClr val="43B02A"/>
    </a:custClr>
    <a:custClr name="ASML Light Green">
      <a:srgbClr val="C4D600"/>
    </a:custClr>
    <a:custClr name="ASML Yellow">
      <a:srgbClr val="FFD100"/>
    </a:custClr>
    <a:custClr name="ASML Orange">
      <a:srgbClr val="FF6A13"/>
    </a:custClr>
    <a:custClr name="ASML Red">
      <a:srgbClr val="F00000"/>
    </a:custClr>
    <a:custClr name="ASML Magenta">
      <a:srgbClr val="DF1995"/>
    </a:custClr>
    <a:custClr name="ASML Violet">
      <a:srgbClr val="8031A7"/>
    </a:custClr>
    <a:custClr name="ASML Blue">
      <a:srgbClr val="10069F"/>
    </a:custClr>
    <a:custClr name="ASML Light Blue -30">
      <a:srgbClr val="50C0E6"/>
    </a:custClr>
    <a:custClr name="ASML Teal -30">
      <a:srgbClr val="55D1C9"/>
    </a:custClr>
    <a:custClr name="ASML Green -30">
      <a:srgbClr val="80C572"/>
    </a:custClr>
    <a:custClr name="ASML Light Green -30">
      <a:srgbClr val="D8DF60"/>
    </a:custClr>
    <a:custClr name="ASML Yellow -30">
      <a:srgbClr val="FEDC61"/>
    </a:custClr>
    <a:custClr name="ASML Orange -30">
      <a:srgbClr val="FD8B57"/>
    </a:custClr>
    <a:custClr name="ASML Red -30">
      <a:srgbClr val="F25052"/>
    </a:custClr>
    <a:custClr name="ASML Magenta -30">
      <a:srgbClr val="E565B3"/>
    </a:custClr>
    <a:custClr name="ASML Violet -30">
      <a:srgbClr val="A473BE"/>
    </a:custClr>
    <a:custClr name="ASML Blue">
      <a:srgbClr val="10069F"/>
    </a:custClr>
    <a:custClr name="ASML Light Blue +30">
      <a:srgbClr val="0089B7"/>
    </a:custClr>
    <a:custClr name="ASML Teal +30">
      <a:srgbClr val="199D97"/>
    </a:custClr>
    <a:custClr name="ASML Green +30">
      <a:srgbClr val="1D8E29"/>
    </a:custClr>
    <a:custClr name="ASML Light Green +30">
      <a:srgbClr val="9FAE38"/>
    </a:custClr>
    <a:custClr name="ASML Yellow +30">
      <a:srgbClr val="D0AD23"/>
    </a:custClr>
    <a:custClr name="ASML Orange +30">
      <a:srgbClr val="D04A1E"/>
    </a:custClr>
    <a:custClr name="ASML Red +30">
      <a:srgbClr val="C50E16"/>
    </a:custClr>
    <a:custClr name="ASML Magenta +30">
      <a:srgbClr val="BA1B7B"/>
    </a:custClr>
    <a:custClr name="ASML Violet +30">
      <a:srgbClr val="6B2C89"/>
    </a:custClr>
  </a:custClrLst>
  <a:extLst>
    <a:ext uri="{05A4C25C-085E-4340-85A3-A5531E510DB2}">
      <thm15:themeFamily xmlns:thm15="http://schemas.microsoft.com/office/thememl/2012/main" name="Default Theme" id="{DD886285-7891-426D-9C83-DCFE58756A29}" vid="{410BCB75-03C1-4EEB-B28B-5F36D22889DE}"/>
    </a:ext>
  </a:extLst>
</a:theme>
</file>

<file path=ppt/theme/theme2.xml><?xml version="1.0" encoding="utf-8"?>
<a:theme xmlns:a="http://schemas.openxmlformats.org/drawingml/2006/main" name="Office Theme">
  <a:themeElements>
    <a:clrScheme name="ASML Template">
      <a:dk1>
        <a:srgbClr val="000000"/>
      </a:dk1>
      <a:lt1>
        <a:srgbClr val="FFFFFF"/>
      </a:lt1>
      <a:dk2>
        <a:srgbClr val="5A5B5E"/>
      </a:dk2>
      <a:lt2>
        <a:srgbClr val="E0E1E3"/>
      </a:lt2>
      <a:accent1>
        <a:srgbClr val="10069F"/>
      </a:accent1>
      <a:accent2>
        <a:srgbClr val="00A3E0"/>
      </a:accent2>
      <a:accent3>
        <a:srgbClr val="00BFB3"/>
      </a:accent3>
      <a:accent4>
        <a:srgbClr val="8031A7"/>
      </a:accent4>
      <a:accent5>
        <a:srgbClr val="43B02A"/>
      </a:accent5>
      <a:accent6>
        <a:srgbClr val="DF1995"/>
      </a:accent6>
      <a:hlink>
        <a:srgbClr val="00A3E0"/>
      </a:hlink>
      <a:folHlink>
        <a:srgbClr val="00A3E0"/>
      </a:folHlink>
    </a:clrScheme>
    <a:fontScheme name="ASML Template">
      <a:majorFont>
        <a:latin typeface="Arial"/>
        <a:ea typeface="Microsoft JhengHei"/>
        <a:cs typeface="Arial"/>
      </a:majorFont>
      <a:minorFont>
        <a:latin typeface="Arial"/>
        <a:ea typeface="Microsoft JhengHei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ASML Template">
      <a:dk1>
        <a:srgbClr val="000000"/>
      </a:dk1>
      <a:lt1>
        <a:srgbClr val="FFFFFF"/>
      </a:lt1>
      <a:dk2>
        <a:srgbClr val="5A5B5E"/>
      </a:dk2>
      <a:lt2>
        <a:srgbClr val="E0E1E3"/>
      </a:lt2>
      <a:accent1>
        <a:srgbClr val="10069F"/>
      </a:accent1>
      <a:accent2>
        <a:srgbClr val="00A3E0"/>
      </a:accent2>
      <a:accent3>
        <a:srgbClr val="00BFB3"/>
      </a:accent3>
      <a:accent4>
        <a:srgbClr val="8031A7"/>
      </a:accent4>
      <a:accent5>
        <a:srgbClr val="43B02A"/>
      </a:accent5>
      <a:accent6>
        <a:srgbClr val="DF1995"/>
      </a:accent6>
      <a:hlink>
        <a:srgbClr val="00A3E0"/>
      </a:hlink>
      <a:folHlink>
        <a:srgbClr val="00A3E0"/>
      </a:folHlink>
    </a:clrScheme>
    <a:fontScheme name="ASML Template">
      <a:majorFont>
        <a:latin typeface="Arial"/>
        <a:ea typeface="Microsoft JhengHei"/>
        <a:cs typeface="Arial"/>
      </a:majorFont>
      <a:minorFont>
        <a:latin typeface="Arial"/>
        <a:ea typeface="Microsoft JhengHei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00A3E0"/>
    </a:dk2>
    <a:lt2>
      <a:srgbClr val="E0E1E3"/>
    </a:lt2>
    <a:accent1>
      <a:srgbClr val="10069F"/>
    </a:accent1>
    <a:accent2>
      <a:srgbClr val="5A5B5E"/>
    </a:accent2>
    <a:accent3>
      <a:srgbClr val="FF6A13"/>
    </a:accent3>
    <a:accent4>
      <a:srgbClr val="43B02A"/>
    </a:accent4>
    <a:accent5>
      <a:srgbClr val="FFD100"/>
    </a:accent5>
    <a:accent6>
      <a:srgbClr val="8031A7"/>
    </a:accent6>
    <a:hlink>
      <a:srgbClr val="00A3E0"/>
    </a:hlink>
    <a:folHlink>
      <a:srgbClr val="00A3E0"/>
    </a:folHlink>
  </a:clrScheme>
</a:themeOverride>
</file>

<file path=ppt/theme/themeOverride2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00A3E0"/>
    </a:dk2>
    <a:lt2>
      <a:srgbClr val="E0E1E3"/>
    </a:lt2>
    <a:accent1>
      <a:srgbClr val="10069F"/>
    </a:accent1>
    <a:accent2>
      <a:srgbClr val="5A5B5E"/>
    </a:accent2>
    <a:accent3>
      <a:srgbClr val="FF6A13"/>
    </a:accent3>
    <a:accent4>
      <a:srgbClr val="43B02A"/>
    </a:accent4>
    <a:accent5>
      <a:srgbClr val="FFD100"/>
    </a:accent5>
    <a:accent6>
      <a:srgbClr val="8031A7"/>
    </a:accent6>
    <a:hlink>
      <a:srgbClr val="00A3E0"/>
    </a:hlink>
    <a:folHlink>
      <a:srgbClr val="00A3E0"/>
    </a:folHlink>
  </a:clrScheme>
</a:themeOverride>
</file>

<file path=ppt/theme/themeOverride3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00A3E0"/>
    </a:dk2>
    <a:lt2>
      <a:srgbClr val="E0E1E3"/>
    </a:lt2>
    <a:accent1>
      <a:srgbClr val="10069F"/>
    </a:accent1>
    <a:accent2>
      <a:srgbClr val="5A5B5E"/>
    </a:accent2>
    <a:accent3>
      <a:srgbClr val="FF6A13"/>
    </a:accent3>
    <a:accent4>
      <a:srgbClr val="43B02A"/>
    </a:accent4>
    <a:accent5>
      <a:srgbClr val="FFD100"/>
    </a:accent5>
    <a:accent6>
      <a:srgbClr val="8031A7"/>
    </a:accent6>
    <a:hlink>
      <a:srgbClr val="00A3E0"/>
    </a:hlink>
    <a:folHlink>
      <a:srgbClr val="00A3E0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665c44e8-82e0-472a-a146-da60c58e68e1" xsi:nil="true"/>
    <h299cf7589dc4b75bcd2bf9f19243c76 xmlns="665c44e8-82e0-472a-a146-da60c58e68e1">
      <Terms xmlns="http://schemas.microsoft.com/office/infopath/2007/PartnerControls"/>
    </h299cf7589dc4b75bcd2bf9f19243c76>
  </documentManagement>
</p:properties>
</file>

<file path=customXml/item2.xml><?xml version="1.0" encoding="utf-8"?>
<?mso-contentType ?>
<SharedContentType xmlns="Microsoft.SharePoint.Taxonomy.ContentTypeSync" SourceId="9bb7800a-9dd4-4efa-9404-7ac564e64633" ContentTypeId="0x0101" PreviousValue="false"/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74E30EF25F66C4C959BBFBFD5F6CDFF" ma:contentTypeVersion="4" ma:contentTypeDescription="Create a new document." ma:contentTypeScope="" ma:versionID="8c8d2a293182417ba903838f304e3b3b">
  <xsd:schema xmlns:xsd="http://www.w3.org/2001/XMLSchema" xmlns:xs="http://www.w3.org/2001/XMLSchema" xmlns:p="http://schemas.microsoft.com/office/2006/metadata/properties" xmlns:ns2="665c44e8-82e0-472a-a146-da60c58e68e1" xmlns:ns3="b34eedfc-73f5-4c56-9ed0-8189ca2f8c38" targetNamespace="http://schemas.microsoft.com/office/2006/metadata/properties" ma:root="true" ma:fieldsID="e8a2c615f0d7daa1ac12553b61665d77" ns2:_="" ns3:_="">
    <xsd:import namespace="665c44e8-82e0-472a-a146-da60c58e68e1"/>
    <xsd:import namespace="b34eedfc-73f5-4c56-9ed0-8189ca2f8c38"/>
    <xsd:element name="properties">
      <xsd:complexType>
        <xsd:sequence>
          <xsd:element name="documentManagement">
            <xsd:complexType>
              <xsd:all>
                <xsd:element ref="ns2:h299cf7589dc4b75bcd2bf9f19243c76" minOccurs="0"/>
                <xsd:element ref="ns2:TaxCatchAll" minOccurs="0"/>
                <xsd:element ref="ns2:TaxCatchAllLabel" minOccurs="0"/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65c44e8-82e0-472a-a146-da60c58e68e1" elementFormDefault="qualified">
    <xsd:import namespace="http://schemas.microsoft.com/office/2006/documentManagement/types"/>
    <xsd:import namespace="http://schemas.microsoft.com/office/infopath/2007/PartnerControls"/>
    <xsd:element name="h299cf7589dc4b75bcd2bf9f19243c76" ma:index="8" nillable="true" ma:taxonomy="true" ma:internalName="h299cf7589dc4b75bcd2bf9f19243c76" ma:taxonomyFieldName="InformationClassification" ma:displayName="Information Classification" ma:readOnly="false" ma:default="" ma:fieldId="{1299cf75-89dc-4b75-bcd2-bf9f19243c76}" ma:sspId="9bb7800a-9dd4-4efa-9404-7ac564e64633" ma:termSetId="15e70205-4b68-455f-98cc-31f0c369727b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9" nillable="true" ma:displayName="Taxonomy Catch All Column" ma:hidden="true" ma:list="{3d251def-2cf5-4ee4-8762-fa67541bf219}" ma:internalName="TaxCatchAll" ma:showField="CatchAllData" ma:web="5234be68-a953-41a3-87a2-ae7f75ab836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hidden="true" ma:list="{3d251def-2cf5-4ee4-8762-fa67541bf219}" ma:internalName="TaxCatchAllLabel" ma:readOnly="true" ma:showField="CatchAllDataLabel" ma:web="5234be68-a953-41a3-87a2-ae7f75ab836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34eedfc-73f5-4c56-9ed0-8189ca2f8c3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2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3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FBCE00E-75BB-4F60-96C8-6C9AA8CDF59F}">
  <ds:schemaRefs>
    <ds:schemaRef ds:uri="http://purl.org/dc/elements/1.1/"/>
    <ds:schemaRef ds:uri="http://schemas.openxmlformats.org/package/2006/metadata/core-properties"/>
    <ds:schemaRef ds:uri="http://schemas.microsoft.com/office/2006/documentManagement/types"/>
    <ds:schemaRef ds:uri="http://www.w3.org/XML/1998/namespace"/>
    <ds:schemaRef ds:uri="http://schemas.microsoft.com/office/infopath/2007/PartnerControls"/>
    <ds:schemaRef ds:uri="http://purl.org/dc/dcmitype/"/>
    <ds:schemaRef ds:uri="f45196d8-d345-4d19-b276-7560caf3b497"/>
    <ds:schemaRef ds:uri="http://schemas.microsoft.com/office/2006/metadata/properties"/>
    <ds:schemaRef ds:uri="http://purl.org/dc/terms/"/>
    <ds:schemaRef ds:uri="665c44e8-82e0-472a-a146-da60c58e68e1"/>
  </ds:schemaRefs>
</ds:datastoreItem>
</file>

<file path=customXml/itemProps2.xml><?xml version="1.0" encoding="utf-8"?>
<ds:datastoreItem xmlns:ds="http://schemas.openxmlformats.org/officeDocument/2006/customXml" ds:itemID="{39AABE0D-8696-4575-9627-E45713FAEBA3}">
  <ds:schemaRefs>
    <ds:schemaRef ds:uri="Microsoft.SharePoint.Taxonomy.ContentTypeSync"/>
  </ds:schemaRefs>
</ds:datastoreItem>
</file>

<file path=customXml/itemProps3.xml><?xml version="1.0" encoding="utf-8"?>
<ds:datastoreItem xmlns:ds="http://schemas.openxmlformats.org/officeDocument/2006/customXml" ds:itemID="{46DF9B4B-33B2-4D9F-A3B2-FDE137E0956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65c44e8-82e0-472a-a146-da60c58e68e1"/>
    <ds:schemaRef ds:uri="b34eedfc-73f5-4c56-9ed0-8189ca2f8c3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888DCC1C-B8C4-496B-80A9-13A9E9C2B06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22</TotalTime>
  <Words>94</Words>
  <Application>Microsoft Office PowerPoint</Application>
  <PresentationFormat>Widescreen</PresentationFormat>
  <Paragraphs>26</Paragraphs>
  <Slides>3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1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5" baseType="lpstr">
      <vt:lpstr>Arial</vt:lpstr>
      <vt:lpstr>ASML Template 2021</vt:lpstr>
      <vt:lpstr>PowerPoint Presentation</vt:lpstr>
      <vt:lpstr>PowerPoint Presentation</vt:lpstr>
      <vt:lpstr>PowerPoint Presentation</vt:lpstr>
    </vt:vector>
  </TitlesOfParts>
  <Company>ASM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William Kimandu</dc:creator>
  <cp:lastModifiedBy>William Kimandu</cp:lastModifiedBy>
  <cp:revision>1</cp:revision>
  <dcterms:created xsi:type="dcterms:W3CDTF">2023-10-24T13:45:33Z</dcterms:created>
  <dcterms:modified xsi:type="dcterms:W3CDTF">2023-10-24T14:08:05Z</dcterms:modified>
  <cp:category>Presentation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74E30EF25F66C4C959BBFBFD5F6CDFF</vt:lpwstr>
  </property>
  <property fmtid="{D5CDD505-2E9C-101B-9397-08002B2CF9AE}" pid="3" name="InformationClassification">
    <vt:lpwstr/>
  </property>
  <property fmtid="{D5CDD505-2E9C-101B-9397-08002B2CF9AE}" pid="4" name="MSIP_Label_f6a2fad9-126f-43f1-a0a4-9c907561022c_Enabled">
    <vt:lpwstr>true</vt:lpwstr>
  </property>
  <property fmtid="{D5CDD505-2E9C-101B-9397-08002B2CF9AE}" pid="5" name="MSIP_Label_f6a2fad9-126f-43f1-a0a4-9c907561022c_SetDate">
    <vt:lpwstr>2023-10-24T14:08:05Z</vt:lpwstr>
  </property>
  <property fmtid="{D5CDD505-2E9C-101B-9397-08002B2CF9AE}" pid="6" name="MSIP_Label_f6a2fad9-126f-43f1-a0a4-9c907561022c_Method">
    <vt:lpwstr>Privileged</vt:lpwstr>
  </property>
  <property fmtid="{D5CDD505-2E9C-101B-9397-08002B2CF9AE}" pid="7" name="MSIP_Label_f6a2fad9-126f-43f1-a0a4-9c907561022c_Name">
    <vt:lpwstr>Non-Business</vt:lpwstr>
  </property>
  <property fmtid="{D5CDD505-2E9C-101B-9397-08002B2CF9AE}" pid="8" name="MSIP_Label_f6a2fad9-126f-43f1-a0a4-9c907561022c_SiteId">
    <vt:lpwstr>af73baa8-f594-4eb2-a39d-93e96cad61fc</vt:lpwstr>
  </property>
  <property fmtid="{D5CDD505-2E9C-101B-9397-08002B2CF9AE}" pid="9" name="MSIP_Label_f6a2fad9-126f-43f1-a0a4-9c907561022c_ActionId">
    <vt:lpwstr>0e3d75f2-f708-41d2-b5f8-5194fff1f2d8</vt:lpwstr>
  </property>
  <property fmtid="{D5CDD505-2E9C-101B-9397-08002B2CF9AE}" pid="10" name="MSIP_Label_f6a2fad9-126f-43f1-a0a4-9c907561022c_ContentBits">
    <vt:lpwstr>0</vt:lpwstr>
  </property>
</Properties>
</file>

<file path=userCustomization/customUI.xml><?xml version="1.0" encoding="utf-8"?>
<mso:customUI xmlns:doc="http://schemas.microsoft.com/office/2006/01/customui/currentDocument" xmlns:mso="http://schemas.microsoft.com/office/2006/01/customui">
  <mso:ribbon>
    <mso:qat>
      <mso:documentControls>
        <mso:control idQ="mso:ClassifyLabelProtect" visible="true"/>
      </mso:documentControls>
    </mso:qat>
  </mso:ribbon>
</mso:customUI>
</file>